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slideLayouts/slideLayout2.xml" ContentType="application/vnd.openxmlformats-officedocument.presentationml.slideLayout+xml"/>
  <Override PartName="/ppt/theme/theme3.xml" ContentType="application/vnd.openxmlformats-officedocument.theme+xml"/>
  <Override PartName="/ppt/slideLayouts/slideLayout3.xml" ContentType="application/vnd.openxmlformats-officedocument.presentationml.slideLayout+xml"/>
  <Override PartName="/ppt/theme/theme4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5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6.xml" ContentType="application/vnd.openxmlformats-officedocument.theme+xml"/>
  <Override PartName="/ppt/slideLayouts/slideLayout8.xml" ContentType="application/vnd.openxmlformats-officedocument.presentationml.slideLayout+xml"/>
  <Override PartName="/ppt/theme/theme7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8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9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10.xml" ContentType="application/vnd.openxmlformats-officedocument.theme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theme/theme11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1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1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14.xml" ContentType="application/vnd.openxmlformats-officedocument.theme+xml"/>
  <Override PartName="/ppt/slideLayouts/slideLayout34.xml" ContentType="application/vnd.openxmlformats-officedocument.presentationml.slideLayout+xml"/>
  <Override PartName="/ppt/theme/theme15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16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7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8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19.xml" ContentType="application/vnd.openxmlformats-officedocument.theme+xml"/>
  <Override PartName="/ppt/slideLayouts/slideLayout58.xml" ContentType="application/vnd.openxmlformats-officedocument.presentationml.slideLayout+xml"/>
  <Override PartName="/ppt/theme/theme20.xml" ContentType="application/vnd.openxmlformats-officedocument.theme+xml"/>
  <Override PartName="/ppt/slideLayouts/slideLayout59.xml" ContentType="application/vnd.openxmlformats-officedocument.presentationml.slideLayout+xml"/>
  <Override PartName="/ppt/theme/theme21.xml" ContentType="application/vnd.openxmlformats-officedocument.theme+xml"/>
  <Override PartName="/ppt/theme/theme2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981" r:id="rId1"/>
    <p:sldMasterId id="2147483660" r:id="rId2"/>
    <p:sldMasterId id="2147483810" r:id="rId3"/>
    <p:sldMasterId id="2147483829" r:id="rId4"/>
    <p:sldMasterId id="2147483836" r:id="rId5"/>
    <p:sldMasterId id="2147483840" r:id="rId6"/>
    <p:sldMasterId id="2147483845" r:id="rId7"/>
    <p:sldMasterId id="2147483848" r:id="rId8"/>
    <p:sldMasterId id="2147483854" r:id="rId9"/>
    <p:sldMasterId id="2147483881" r:id="rId10"/>
    <p:sldMasterId id="2147483887" r:id="rId11"/>
    <p:sldMasterId id="2147483890" r:id="rId12"/>
    <p:sldMasterId id="2147483894" r:id="rId13"/>
    <p:sldMasterId id="2147483898" r:id="rId14"/>
    <p:sldMasterId id="2147483916" r:id="rId15"/>
    <p:sldMasterId id="2147483918" r:id="rId16"/>
    <p:sldMasterId id="2147483926" r:id="rId17"/>
    <p:sldMasterId id="2147483962" r:id="rId18"/>
    <p:sldMasterId id="2147483965" r:id="rId19"/>
    <p:sldMasterId id="2147483973" r:id="rId20"/>
    <p:sldMasterId id="2147483979" r:id="rId21"/>
  </p:sldMasterIdLst>
  <p:notesMasterIdLst>
    <p:notesMasterId r:id="rId65"/>
  </p:notesMasterIdLst>
  <p:sldIdLst>
    <p:sldId id="1111" r:id="rId22"/>
    <p:sldId id="1178" r:id="rId23"/>
    <p:sldId id="1140" r:id="rId24"/>
    <p:sldId id="1141" r:id="rId25"/>
    <p:sldId id="1142" r:id="rId26"/>
    <p:sldId id="1143" r:id="rId27"/>
    <p:sldId id="1144" r:id="rId28"/>
    <p:sldId id="1146" r:id="rId29"/>
    <p:sldId id="1147" r:id="rId30"/>
    <p:sldId id="1150" r:id="rId31"/>
    <p:sldId id="1145" r:id="rId32"/>
    <p:sldId id="1148" r:id="rId33"/>
    <p:sldId id="1171" r:id="rId34"/>
    <p:sldId id="1172" r:id="rId35"/>
    <p:sldId id="1170" r:id="rId36"/>
    <p:sldId id="1176" r:id="rId37"/>
    <p:sldId id="1177" r:id="rId38"/>
    <p:sldId id="1174" r:id="rId39"/>
    <p:sldId id="1133" r:id="rId40"/>
    <p:sldId id="1134" r:id="rId41"/>
    <p:sldId id="1137" r:id="rId42"/>
    <p:sldId id="1138" r:id="rId43"/>
    <p:sldId id="1158" r:id="rId44"/>
    <p:sldId id="1160" r:id="rId45"/>
    <p:sldId id="1161" r:id="rId46"/>
    <p:sldId id="1180" r:id="rId47"/>
    <p:sldId id="1159" r:id="rId48"/>
    <p:sldId id="1162" r:id="rId49"/>
    <p:sldId id="1163" r:id="rId50"/>
    <p:sldId id="1164" r:id="rId51"/>
    <p:sldId id="1166" r:id="rId52"/>
    <p:sldId id="1167" r:id="rId53"/>
    <p:sldId id="1168" r:id="rId54"/>
    <p:sldId id="1165" r:id="rId55"/>
    <p:sldId id="1154" r:id="rId56"/>
    <p:sldId id="1155" r:id="rId57"/>
    <p:sldId id="1156" r:id="rId58"/>
    <p:sldId id="1151" r:id="rId59"/>
    <p:sldId id="1152" r:id="rId60"/>
    <p:sldId id="1153" r:id="rId61"/>
    <p:sldId id="1173" r:id="rId62"/>
    <p:sldId id="1181" r:id="rId63"/>
    <p:sldId id="1182" r:id="rId64"/>
  </p:sldIdLst>
  <p:sldSz cx="12192000" cy="6858000"/>
  <p:notesSz cx="6807200" cy="9939338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sz="2000" b="1" kern="1200">
        <a:solidFill>
          <a:schemeClr val="tx1"/>
        </a:solidFill>
        <a:latin typeface="Trebuchet MS" pitchFamily="34" charset="0"/>
        <a:ea typeface="돋움" pitchFamily="50" charset="-127"/>
        <a:cs typeface="+mn-cs"/>
      </a:defRPr>
    </a:lvl1pPr>
    <a:lvl2pPr marL="450850" indent="6350" algn="l" rtl="0" fontAlgn="base" latinLnBrk="1">
      <a:spcBef>
        <a:spcPct val="0"/>
      </a:spcBef>
      <a:spcAft>
        <a:spcPct val="0"/>
      </a:spcAft>
      <a:defRPr kumimoji="1" sz="2000" b="1" kern="1200">
        <a:solidFill>
          <a:schemeClr val="tx1"/>
        </a:solidFill>
        <a:latin typeface="Trebuchet MS" pitchFamily="34" charset="0"/>
        <a:ea typeface="돋움" pitchFamily="50" charset="-127"/>
        <a:cs typeface="+mn-cs"/>
      </a:defRPr>
    </a:lvl2pPr>
    <a:lvl3pPr marL="908050" indent="6350" algn="l" rtl="0" fontAlgn="base" latinLnBrk="1">
      <a:spcBef>
        <a:spcPct val="0"/>
      </a:spcBef>
      <a:spcAft>
        <a:spcPct val="0"/>
      </a:spcAft>
      <a:defRPr kumimoji="1" sz="2000" b="1" kern="1200">
        <a:solidFill>
          <a:schemeClr val="tx1"/>
        </a:solidFill>
        <a:latin typeface="Trebuchet MS" pitchFamily="34" charset="0"/>
        <a:ea typeface="돋움" pitchFamily="50" charset="-127"/>
        <a:cs typeface="+mn-cs"/>
      </a:defRPr>
    </a:lvl3pPr>
    <a:lvl4pPr marL="1365250" indent="6350" algn="l" rtl="0" fontAlgn="base" latinLnBrk="1">
      <a:spcBef>
        <a:spcPct val="0"/>
      </a:spcBef>
      <a:spcAft>
        <a:spcPct val="0"/>
      </a:spcAft>
      <a:defRPr kumimoji="1" sz="2000" b="1" kern="1200">
        <a:solidFill>
          <a:schemeClr val="tx1"/>
        </a:solidFill>
        <a:latin typeface="Trebuchet MS" pitchFamily="34" charset="0"/>
        <a:ea typeface="돋움" pitchFamily="50" charset="-127"/>
        <a:cs typeface="+mn-cs"/>
      </a:defRPr>
    </a:lvl4pPr>
    <a:lvl5pPr marL="1822450" indent="6350" algn="l" rtl="0" fontAlgn="base" latinLnBrk="1">
      <a:spcBef>
        <a:spcPct val="0"/>
      </a:spcBef>
      <a:spcAft>
        <a:spcPct val="0"/>
      </a:spcAft>
      <a:defRPr kumimoji="1" sz="2000" b="1" kern="1200">
        <a:solidFill>
          <a:schemeClr val="tx1"/>
        </a:solidFill>
        <a:latin typeface="Trebuchet MS" pitchFamily="34" charset="0"/>
        <a:ea typeface="돋움" pitchFamily="50" charset="-127"/>
        <a:cs typeface="+mn-cs"/>
      </a:defRPr>
    </a:lvl5pPr>
    <a:lvl6pPr marL="2286000" algn="l" defTabSz="914400" rtl="0" eaLnBrk="1" latinLnBrk="1" hangingPunct="1">
      <a:defRPr kumimoji="1" sz="2000" b="1" kern="1200">
        <a:solidFill>
          <a:schemeClr val="tx1"/>
        </a:solidFill>
        <a:latin typeface="Trebuchet MS" pitchFamily="34" charset="0"/>
        <a:ea typeface="돋움" pitchFamily="50" charset="-127"/>
        <a:cs typeface="+mn-cs"/>
      </a:defRPr>
    </a:lvl6pPr>
    <a:lvl7pPr marL="2743200" algn="l" defTabSz="914400" rtl="0" eaLnBrk="1" latinLnBrk="1" hangingPunct="1">
      <a:defRPr kumimoji="1" sz="2000" b="1" kern="1200">
        <a:solidFill>
          <a:schemeClr val="tx1"/>
        </a:solidFill>
        <a:latin typeface="Trebuchet MS" pitchFamily="34" charset="0"/>
        <a:ea typeface="돋움" pitchFamily="50" charset="-127"/>
        <a:cs typeface="+mn-cs"/>
      </a:defRPr>
    </a:lvl7pPr>
    <a:lvl8pPr marL="3200400" algn="l" defTabSz="914400" rtl="0" eaLnBrk="1" latinLnBrk="1" hangingPunct="1">
      <a:defRPr kumimoji="1" sz="2000" b="1" kern="1200">
        <a:solidFill>
          <a:schemeClr val="tx1"/>
        </a:solidFill>
        <a:latin typeface="Trebuchet MS" pitchFamily="34" charset="0"/>
        <a:ea typeface="돋움" pitchFamily="50" charset="-127"/>
        <a:cs typeface="+mn-cs"/>
      </a:defRPr>
    </a:lvl8pPr>
    <a:lvl9pPr marL="3657600" algn="l" defTabSz="914400" rtl="0" eaLnBrk="1" latinLnBrk="1" hangingPunct="1">
      <a:defRPr kumimoji="1" sz="2000" b="1" kern="1200">
        <a:solidFill>
          <a:schemeClr val="tx1"/>
        </a:solidFill>
        <a:latin typeface="Trebuchet MS" pitchFamily="34" charset="0"/>
        <a:ea typeface="돋움" pitchFamily="50" charset="-127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5B8C593E-0B22-4715-A62C-8EDC79DEAE55}">
          <p14:sldIdLst>
            <p14:sldId id="1111"/>
            <p14:sldId id="1178"/>
            <p14:sldId id="1140"/>
            <p14:sldId id="1141"/>
            <p14:sldId id="1142"/>
            <p14:sldId id="1143"/>
            <p14:sldId id="1144"/>
            <p14:sldId id="1146"/>
            <p14:sldId id="1147"/>
            <p14:sldId id="1150"/>
            <p14:sldId id="1145"/>
            <p14:sldId id="1148"/>
            <p14:sldId id="1171"/>
            <p14:sldId id="1172"/>
            <p14:sldId id="1170"/>
            <p14:sldId id="1176"/>
            <p14:sldId id="1177"/>
            <p14:sldId id="1174"/>
            <p14:sldId id="1133"/>
            <p14:sldId id="1134"/>
            <p14:sldId id="1137"/>
            <p14:sldId id="1138"/>
            <p14:sldId id="1158"/>
            <p14:sldId id="1160"/>
            <p14:sldId id="1161"/>
            <p14:sldId id="1180"/>
            <p14:sldId id="1159"/>
            <p14:sldId id="1162"/>
            <p14:sldId id="1163"/>
            <p14:sldId id="1164"/>
            <p14:sldId id="1166"/>
            <p14:sldId id="1167"/>
            <p14:sldId id="1168"/>
            <p14:sldId id="1165"/>
          </p14:sldIdLst>
        </p14:section>
        <p14:section name="유첨" id="{0F8252CF-234B-4122-A75C-6236FD32E10E}">
          <p14:sldIdLst>
            <p14:sldId id="1154"/>
            <p14:sldId id="1155"/>
            <p14:sldId id="1156"/>
            <p14:sldId id="1151"/>
            <p14:sldId id="1152"/>
            <p14:sldId id="1153"/>
            <p14:sldId id="1173"/>
            <p14:sldId id="1181"/>
            <p14:sldId id="1182"/>
          </p14:sldIdLst>
        </p14:section>
        <p14:section name="참고" id="{26D768DF-89CA-4954-862C-428CE610FA86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3884" userDrawn="1">
          <p15:clr>
            <a:srgbClr val="A4A3A4"/>
          </p15:clr>
        </p15:guide>
        <p15:guide id="11" orient="horz" pos="640" userDrawn="1">
          <p15:clr>
            <a:srgbClr val="A4A3A4"/>
          </p15:clr>
        </p15:guide>
        <p15:guide id="14" pos="3840" userDrawn="1">
          <p15:clr>
            <a:srgbClr val="A4A3A4"/>
          </p15:clr>
        </p15:guide>
        <p15:guide id="15" pos="3659" userDrawn="1">
          <p15:clr>
            <a:srgbClr val="A4A3A4"/>
          </p15:clr>
        </p15:guide>
        <p15:guide id="16" orient="horz" pos="3407" userDrawn="1">
          <p15:clr>
            <a:srgbClr val="A4A3A4"/>
          </p15:clr>
        </p15:guide>
        <p15:guide id="17" userDrawn="1">
          <p15:clr>
            <a:srgbClr val="A4A3A4"/>
          </p15:clr>
        </p15:guide>
        <p15:guide id="18" pos="2094" userDrawn="1">
          <p15:clr>
            <a:srgbClr val="A4A3A4"/>
          </p15:clr>
        </p15:guide>
        <p15:guide id="19" pos="6425" userDrawn="1">
          <p15:clr>
            <a:srgbClr val="A4A3A4"/>
          </p15:clr>
        </p15:guide>
        <p15:guide id="20" pos="937" userDrawn="1">
          <p15:clr>
            <a:srgbClr val="A4A3A4"/>
          </p15:clr>
        </p15:guide>
        <p15:guide id="21" pos="34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2B2B2"/>
    <a:srgbClr val="FFFFCC"/>
    <a:srgbClr val="0000FF"/>
    <a:srgbClr val="CCFFCC"/>
    <a:srgbClr val="CCFFFF"/>
    <a:srgbClr val="FFCCFF"/>
    <a:srgbClr val="009900"/>
    <a:srgbClr val="006600"/>
    <a:srgbClr val="B17ED8"/>
    <a:srgbClr val="EA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보통 스타일 2 - 강조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159" autoAdjust="0"/>
    <p:restoredTop sz="94450" autoAdjust="0"/>
  </p:normalViewPr>
  <p:slideViewPr>
    <p:cSldViewPr>
      <p:cViewPr varScale="1">
        <p:scale>
          <a:sx n="237" d="100"/>
          <a:sy n="237" d="100"/>
        </p:scale>
        <p:origin x="216" y="264"/>
      </p:cViewPr>
      <p:guideLst>
        <p:guide orient="horz" pos="3884"/>
        <p:guide orient="horz" pos="640"/>
        <p:guide pos="3840"/>
        <p:guide pos="3659"/>
        <p:guide orient="horz" pos="3407"/>
        <p:guide/>
        <p:guide pos="2094"/>
        <p:guide pos="6425"/>
        <p:guide pos="937"/>
        <p:guide pos="347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-30"/>
    </p:cViewPr>
  </p:sorterViewPr>
  <p:notesViewPr>
    <p:cSldViewPr>
      <p:cViewPr varScale="1">
        <p:scale>
          <a:sx n="84" d="100"/>
          <a:sy n="84" d="100"/>
        </p:scale>
        <p:origin x="3642" y="108"/>
      </p:cViewPr>
      <p:guideLst>
        <p:guide orient="horz" pos="3130"/>
        <p:guide pos="2144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5.xml"/><Relationship Id="rId21" Type="http://schemas.openxmlformats.org/officeDocument/2006/relationships/slideMaster" Target="slideMasters/slideMaster21.xml"/><Relationship Id="rId42" Type="http://schemas.openxmlformats.org/officeDocument/2006/relationships/slide" Target="slides/slide21.xml"/><Relationship Id="rId47" Type="http://schemas.openxmlformats.org/officeDocument/2006/relationships/slide" Target="slides/slide26.xml"/><Relationship Id="rId63" Type="http://schemas.openxmlformats.org/officeDocument/2006/relationships/slide" Target="slides/slide42.xml"/><Relationship Id="rId68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8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slide" Target="slides/slide19.xml"/><Relationship Id="rId45" Type="http://schemas.openxmlformats.org/officeDocument/2006/relationships/slide" Target="slides/slide24.xml"/><Relationship Id="rId53" Type="http://schemas.openxmlformats.org/officeDocument/2006/relationships/slide" Target="slides/slide32.xml"/><Relationship Id="rId58" Type="http://schemas.openxmlformats.org/officeDocument/2006/relationships/slide" Target="slides/slide37.xml"/><Relationship Id="rId66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0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slide" Target="slides/slide22.xml"/><Relationship Id="rId48" Type="http://schemas.openxmlformats.org/officeDocument/2006/relationships/slide" Target="slides/slide27.xml"/><Relationship Id="rId56" Type="http://schemas.openxmlformats.org/officeDocument/2006/relationships/slide" Target="slides/slide35.xml"/><Relationship Id="rId64" Type="http://schemas.openxmlformats.org/officeDocument/2006/relationships/slide" Target="slides/slide43.xml"/><Relationship Id="rId69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0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46" Type="http://schemas.openxmlformats.org/officeDocument/2006/relationships/slide" Target="slides/slide25.xml"/><Relationship Id="rId59" Type="http://schemas.openxmlformats.org/officeDocument/2006/relationships/slide" Target="slides/slide38.xml"/><Relationship Id="rId67" Type="http://schemas.openxmlformats.org/officeDocument/2006/relationships/viewProps" Target="viewProps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20.xml"/><Relationship Id="rId54" Type="http://schemas.openxmlformats.org/officeDocument/2006/relationships/slide" Target="slides/slide33.xml"/><Relationship Id="rId62" Type="http://schemas.openxmlformats.org/officeDocument/2006/relationships/slide" Target="slides/slide4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49" Type="http://schemas.openxmlformats.org/officeDocument/2006/relationships/slide" Target="slides/slide28.xml"/><Relationship Id="rId57" Type="http://schemas.openxmlformats.org/officeDocument/2006/relationships/slide" Target="slides/slide36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0.xml"/><Relationship Id="rId44" Type="http://schemas.openxmlformats.org/officeDocument/2006/relationships/slide" Target="slides/slide23.xml"/><Relationship Id="rId52" Type="http://schemas.openxmlformats.org/officeDocument/2006/relationships/slide" Target="slides/slide31.xml"/><Relationship Id="rId60" Type="http://schemas.openxmlformats.org/officeDocument/2006/relationships/slide" Target="slides/slide39.xml"/><Relationship Id="rId65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" Target="slides/slide18.xml"/><Relationship Id="rId34" Type="http://schemas.openxmlformats.org/officeDocument/2006/relationships/slide" Target="slides/slide13.xml"/><Relationship Id="rId50" Type="http://schemas.openxmlformats.org/officeDocument/2006/relationships/slide" Target="slides/slide29.xml"/><Relationship Id="rId55" Type="http://schemas.openxmlformats.org/officeDocument/2006/relationships/slide" Target="slides/slide3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116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9" tIns="45779" rIns="91559" bIns="45779" numCol="1" anchor="t" anchorCtr="0" compatLnSpc="1">
            <a:prstTxWarp prst="textNoShape">
              <a:avLst/>
            </a:prstTxWarp>
          </a:bodyPr>
          <a:lstStyle>
            <a:lvl1pPr defTabSz="915988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450" y="0"/>
            <a:ext cx="295116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9" tIns="45779" rIns="91559" bIns="45779" numCol="1" anchor="t" anchorCtr="0" compatLnSpc="1">
            <a:prstTxWarp prst="textNoShape">
              <a:avLst/>
            </a:prstTxWarp>
          </a:bodyPr>
          <a:lstStyle>
            <a:lvl1pPr algn="r" defTabSz="915988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2458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" y="747713"/>
            <a:ext cx="6623050" cy="37258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22813"/>
            <a:ext cx="5445125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9" tIns="45779" rIns="91559" bIns="4577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/>
              <a:t>마스터 텍스트 스타일을 편집합니다</a:t>
            </a:r>
          </a:p>
          <a:p>
            <a:pPr lvl="1"/>
            <a:r>
              <a:rPr lang="ko-KR" altLang="en-US" noProof="0"/>
              <a:t>둘째 수준</a:t>
            </a:r>
          </a:p>
          <a:p>
            <a:pPr lvl="2"/>
            <a:r>
              <a:rPr lang="ko-KR" altLang="en-US" noProof="0"/>
              <a:t>셋째 수준</a:t>
            </a:r>
          </a:p>
          <a:p>
            <a:pPr lvl="3"/>
            <a:r>
              <a:rPr lang="ko-KR" altLang="en-US" noProof="0"/>
              <a:t>넷째 수준</a:t>
            </a:r>
          </a:p>
          <a:p>
            <a:pPr lvl="4"/>
            <a:r>
              <a:rPr lang="ko-KR" altLang="en-US" noProof="0"/>
              <a:t>다섯째 수준</a:t>
            </a:r>
          </a:p>
        </p:txBody>
      </p:sp>
      <p:sp>
        <p:nvSpPr>
          <p:cNvPr id="2560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863"/>
            <a:ext cx="295116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9" tIns="45779" rIns="91559" bIns="45779" numCol="1" anchor="b" anchorCtr="0" compatLnSpc="1">
            <a:prstTxWarp prst="textNoShape">
              <a:avLst/>
            </a:prstTxWarp>
          </a:bodyPr>
          <a:lstStyle>
            <a:lvl1pPr defTabSz="915988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2560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450" y="9440863"/>
            <a:ext cx="295116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9" tIns="45779" rIns="91559" bIns="45779" numCol="1" anchor="b" anchorCtr="0" compatLnSpc="1">
            <a:prstTxWarp prst="textNoShape">
              <a:avLst/>
            </a:prstTxWarp>
          </a:bodyPr>
          <a:lstStyle>
            <a:lvl1pPr algn="r" defTabSz="915988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11B386E0-A914-4A1F-AC02-752D0982DE67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27775991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085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0805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6525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245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4333" algn="l" defTabSz="913735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198" algn="l" defTabSz="913735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066" algn="l" defTabSz="913735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932" algn="l" defTabSz="913735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5988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1B386E0-A914-4A1F-AC02-752D0982DE67}" type="slidenum">
              <a:rPr kumimoji="1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5988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53535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1B386E0-A914-4A1F-AC02-752D0982DE67}" type="slidenum">
              <a:rPr lang="en-US" altLang="ko-KR" smtClean="0"/>
              <a:pPr>
                <a:defRPr/>
              </a:pPr>
              <a:t>2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690947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39"/>
          <p:cNvSpPr>
            <a:spLocks noChangeShapeType="1"/>
          </p:cNvSpPr>
          <p:nvPr userDrawn="1"/>
        </p:nvSpPr>
        <p:spPr bwMode="auto">
          <a:xfrm>
            <a:off x="0" y="476672"/>
            <a:ext cx="12192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91369" tIns="45687" rIns="91369" bIns="45687"/>
          <a:lstStyle/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3" name="직사각형 2"/>
          <p:cNvSpPr/>
          <p:nvPr userDrawn="1"/>
        </p:nvSpPr>
        <p:spPr>
          <a:xfrm>
            <a:off x="5375811" y="180980"/>
            <a:ext cx="1447810" cy="276987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29" tIns="45714" rIns="91429" bIns="45714">
            <a:spAutoFit/>
          </a:bodyPr>
          <a:lstStyle/>
          <a:p>
            <a:pPr>
              <a:defRPr/>
            </a:pPr>
            <a:r>
              <a:rPr lang="en-US" altLang="ko-KR" sz="1200" b="0">
                <a:solidFill>
                  <a:prstClr val="white">
                    <a:lumMod val="75000"/>
                  </a:prstClr>
                </a:solidFill>
                <a:latin typeface="Arial Narrow" pitchFamily="34" charset="0"/>
                <a:cs typeface="Arial" pitchFamily="34" charset="0"/>
              </a:rPr>
              <a:t>LGE Internal Use Only</a:t>
            </a:r>
            <a:endParaRPr lang="ko-KR" altLang="en-US" sz="1200" b="0">
              <a:solidFill>
                <a:prstClr val="white">
                  <a:lumMod val="75000"/>
                </a:prstClr>
              </a:solidFill>
              <a:latin typeface="Arial Narrow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04073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47347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77724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pic>
        <p:nvPicPr>
          <p:cNvPr id="7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28620" y="6386473"/>
            <a:ext cx="971368" cy="421758"/>
          </a:xfrm>
          <a:prstGeom prst="rect">
            <a:avLst/>
          </a:prstGeom>
          <a:noFill/>
        </p:spPr>
      </p:pic>
      <p:sp>
        <p:nvSpPr>
          <p:cNvPr id="9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4724400" y="649451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fld id="{F215B1D4-4ECD-4DDE-91CE-96B0C20A54A9}" type="slidenum">
              <a:rPr lang="ko-KR" altLang="en-US" sz="1400" smtClean="0">
                <a:solidFill>
                  <a:srgbClr val="000000"/>
                </a:solidFill>
              </a:rPr>
              <a:pPr/>
              <a:t>‹#›</a:t>
            </a:fld>
            <a:r>
              <a:rPr lang="ko-KR" altLang="en-US">
                <a:solidFill>
                  <a:srgbClr val="000000"/>
                </a:solidFill>
              </a:rPr>
              <a:t> </a:t>
            </a:r>
            <a:r>
              <a:rPr lang="en-US" altLang="ko-KR">
                <a:solidFill>
                  <a:srgbClr val="000000"/>
                </a:solidFill>
              </a:rPr>
              <a:t>/ 36</a:t>
            </a:r>
            <a:endParaRPr lang="ko-KR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4515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2"/>
          <p:cNvCxnSpPr>
            <a:cxnSpLocks noChangeShapeType="1"/>
          </p:cNvCxnSpPr>
          <p:nvPr userDrawn="1"/>
        </p:nvCxnSpPr>
        <p:spPr bwMode="auto">
          <a:xfrm>
            <a:off x="0" y="549275"/>
            <a:ext cx="12184615" cy="0"/>
          </a:xfrm>
          <a:prstGeom prst="line">
            <a:avLst/>
          </a:prstGeom>
          <a:noFill/>
          <a:ln w="317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" name="직사각형 4"/>
          <p:cNvSpPr/>
          <p:nvPr userDrawn="1"/>
        </p:nvSpPr>
        <p:spPr>
          <a:xfrm>
            <a:off x="5176503" y="125610"/>
            <a:ext cx="1811643" cy="27696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05" tIns="45703" rIns="91405" bIns="45703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altLang="ko-KR" sz="1200">
                <a:solidFill>
                  <a:srgbClr val="FFFF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LGE Internal Use Only</a:t>
            </a:r>
            <a:endParaRPr lang="ko-KR" altLang="en-US" sz="1200">
              <a:solidFill>
                <a:srgbClr val="FFFF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4102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4678009" y="49230"/>
            <a:ext cx="3101882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altLang="ko-KR" dirty="0"/>
              <a:t>LGE Internal Use Only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238237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4678003" y="49220"/>
            <a:ext cx="3101882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altLang="ko-KR" dirty="0"/>
              <a:t>LGE Internal Use Only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107536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4678003" y="49220"/>
            <a:ext cx="3101882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altLang="ko-KR" dirty="0"/>
              <a:t>LGE Internal Use Only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99550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4678003" y="49220"/>
            <a:ext cx="3101882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altLang="ko-KR" dirty="0"/>
              <a:t>LGE Internal Use Only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028592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75620" y="6356355"/>
            <a:ext cx="2743200" cy="365125"/>
          </a:xfrm>
          <a:prstGeom prst="rect">
            <a:avLst/>
          </a:prstGeom>
        </p:spPr>
        <p:txBody>
          <a:bodyPr/>
          <a:lstStyle/>
          <a:p>
            <a:fld id="{81A3C30C-C0B5-4EAC-B249-A7CB82329FC0}" type="slidenum">
              <a:rPr lang="ko-KR" altLang="en-US" smtClean="0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cxnSp>
        <p:nvCxnSpPr>
          <p:cNvPr id="8" name="직선 연결선 7"/>
          <p:cNvCxnSpPr/>
          <p:nvPr userDrawn="1"/>
        </p:nvCxnSpPr>
        <p:spPr>
          <a:xfrm>
            <a:off x="0" y="448887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81707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67410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42644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 userDrawn="1"/>
        </p:nvSpPr>
        <p:spPr>
          <a:xfrm>
            <a:off x="5176503" y="125612"/>
            <a:ext cx="1811643" cy="27696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05" tIns="45703" rIns="91405" bIns="45703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altLang="ko-KR" sz="1200">
                <a:solidFill>
                  <a:srgbClr val="FFFF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LGE Internal Use Only</a:t>
            </a:r>
            <a:endParaRPr lang="ko-KR" altLang="en-US" sz="1200">
              <a:solidFill>
                <a:srgbClr val="FFFF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2293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C2C826C5-37BE-4765-84A8-930E620FA6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1193202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cap="none" baseline="0"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b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cap="none" baseline="0"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b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4677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10066" y="43393"/>
            <a:ext cx="10515600" cy="439208"/>
          </a:xfrm>
          <a:prstGeom prst="rect">
            <a:avLst/>
          </a:prstGeom>
        </p:spPr>
        <p:txBody>
          <a:bodyPr/>
          <a:lstStyle>
            <a:lvl1pPr>
              <a:defRPr cap="none" baseline="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40264" y="733425"/>
            <a:ext cx="11308823" cy="451908"/>
          </a:xfrm>
          <a:prstGeom prst="rect">
            <a:avLst/>
          </a:prstGeom>
        </p:spPr>
        <p:txBody>
          <a:bodyPr/>
          <a:lstStyle>
            <a:lvl1pPr>
              <a:defRPr cap="none" baseline="0"/>
            </a:lvl1pPr>
            <a:lvl2pPr>
              <a:defRPr cap="none" baseline="0"/>
            </a:lvl2pPr>
            <a:lvl3pPr>
              <a:defRPr cap="none" baseline="0"/>
            </a:lvl3pPr>
            <a:lvl4pPr>
              <a:defRPr cap="none" baseline="0"/>
            </a:lvl4pPr>
            <a:lvl5pPr>
              <a:defRPr cap="none" baseline="0"/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cap="none" baseline="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b="0">
              <a:solidFill>
                <a:prstClr val="black"/>
              </a:solidFill>
              <a:latin typeface="Arial Narrow"/>
              <a:ea typeface="LG스마트체 Regular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cap="none" baseline="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b="0">
              <a:solidFill>
                <a:prstClr val="black"/>
              </a:solidFill>
              <a:latin typeface="Arial Narrow"/>
              <a:ea typeface="LG스마트체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742675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6747" y="148294"/>
            <a:ext cx="2513509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>
              <a:defRPr sz="2000" b="1" baseline="0"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8" name="Line 14"/>
          <p:cNvSpPr>
            <a:spLocks noChangeShapeType="1"/>
          </p:cNvSpPr>
          <p:nvPr userDrawn="1"/>
        </p:nvSpPr>
        <p:spPr bwMode="auto">
          <a:xfrm>
            <a:off x="0" y="534987"/>
            <a:ext cx="12192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4" rIns="91429" bIns="45714"/>
          <a:lstStyle/>
          <a:p>
            <a:pPr defTabSz="914313"/>
            <a:endParaRPr lang="ko-KR" altLang="en-US" sz="130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935377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86875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7987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01948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08332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7436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71750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59741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08038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6099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4269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06465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4"/>
          <p:cNvSpPr>
            <a:spLocks noChangeShapeType="1"/>
          </p:cNvSpPr>
          <p:nvPr userDrawn="1"/>
        </p:nvSpPr>
        <p:spPr bwMode="auto">
          <a:xfrm>
            <a:off x="0" y="534988"/>
            <a:ext cx="12192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463" b="0">
              <a:solidFill>
                <a:srgbClr val="000000"/>
              </a:solidFill>
              <a:latin typeface="Arial"/>
              <a:ea typeface="돋움"/>
            </a:endParaRP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0"/>
          </p:nvPr>
        </p:nvSpPr>
        <p:spPr>
          <a:xfrm>
            <a:off x="8045938" y="116059"/>
            <a:ext cx="3987801" cy="31745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lvl1pPr marL="0" indent="0" algn="r">
              <a:buNone/>
              <a:defRPr lang="ko-KR" altLang="en-US" sz="1219" b="1" kern="1200" smtClean="0">
                <a:latin typeface="Arial Narrow" panose="020B0606020202030204" pitchFamily="34" charset="0"/>
                <a:ea typeface="LG스마트체 Regular" pitchFamily="50" charset="-127"/>
              </a:defRPr>
            </a:lvl1pPr>
            <a:lvl2pPr>
              <a:defRPr lang="ko-KR" altLang="en-US" kern="1200" smtClean="0">
                <a:latin typeface="굴림" pitchFamily="50" charset="-127"/>
                <a:ea typeface="굴림" pitchFamily="50" charset="-127"/>
                <a:cs typeface="+mn-cs"/>
              </a:defRPr>
            </a:lvl2pPr>
            <a:lvl3pPr>
              <a:defRPr lang="ko-KR" altLang="en-US" kern="1200" smtClean="0">
                <a:latin typeface="굴림" pitchFamily="50" charset="-127"/>
                <a:ea typeface="굴림" pitchFamily="50" charset="-127"/>
                <a:cs typeface="+mn-cs"/>
              </a:defRPr>
            </a:lvl3pPr>
            <a:lvl4pPr>
              <a:defRPr lang="ko-KR" altLang="en-US" kern="1200" smtClean="0">
                <a:latin typeface="굴림" pitchFamily="50" charset="-127"/>
                <a:ea typeface="굴림" pitchFamily="50" charset="-127"/>
                <a:cs typeface="+mn-cs"/>
              </a:defRPr>
            </a:lvl4pPr>
            <a:lvl5pPr>
              <a:defRPr lang="ko-KR" altLang="en-US" kern="1200">
                <a:latin typeface="굴림" pitchFamily="50" charset="-127"/>
                <a:ea typeface="굴림" pitchFamily="50" charset="-127"/>
                <a:cs typeface="+mn-cs"/>
              </a:defRPr>
            </a:lvl5pPr>
          </a:lstStyle>
          <a:p>
            <a:pPr lvl="0" algn="r" latinLnBrk="0">
              <a:lnSpc>
                <a:spcPct val="120000"/>
              </a:lnSpc>
              <a:spcBef>
                <a:spcPct val="0"/>
              </a:spcBef>
              <a:tabLst>
                <a:tab pos="3060800" algn="l"/>
              </a:tabLst>
            </a:pPr>
            <a:endParaRPr lang="ko-KR" altLang="en-US" dirty="0"/>
          </a:p>
        </p:txBody>
      </p:sp>
      <p:sp>
        <p:nvSpPr>
          <p:cNvPr id="9" name="제목 8"/>
          <p:cNvSpPr>
            <a:spLocks noGrp="1"/>
          </p:cNvSpPr>
          <p:nvPr>
            <p:ph type="title"/>
          </p:nvPr>
        </p:nvSpPr>
        <p:spPr>
          <a:xfrm>
            <a:off x="95104" y="71441"/>
            <a:ext cx="6000897" cy="398053"/>
          </a:xfrm>
          <a:prstGeom prst="rect">
            <a:avLst/>
          </a:prstGeom>
        </p:spPr>
        <p:txBody>
          <a:bodyPr/>
          <a:lstStyle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lang="ko-KR" altLang="en-US" sz="1625" b="1" kern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1pPr>
          </a:lstStyle>
          <a:p>
            <a:endParaRPr lang="ko-KR" altLang="en-US" dirty="0"/>
          </a:p>
        </p:txBody>
      </p:sp>
      <p:sp>
        <p:nvSpPr>
          <p:cNvPr id="12" name="텍스트 개체 틀 11"/>
          <p:cNvSpPr>
            <a:spLocks noGrp="1"/>
          </p:cNvSpPr>
          <p:nvPr>
            <p:ph type="body" sz="quarter" idx="11"/>
          </p:nvPr>
        </p:nvSpPr>
        <p:spPr>
          <a:xfrm>
            <a:off x="257909" y="669591"/>
            <a:ext cx="11598031" cy="325438"/>
          </a:xfrm>
          <a:prstGeom prst="rect">
            <a:avLst/>
          </a:prstGeom>
        </p:spPr>
        <p:txBody>
          <a:bodyPr/>
          <a:lstStyle>
            <a:lvl1pPr marL="0" indent="0" algn="l" rtl="0" fontAlgn="base" latinLnBrk="1">
              <a:spcBef>
                <a:spcPct val="0"/>
              </a:spcBef>
              <a:spcAft>
                <a:spcPct val="0"/>
              </a:spcAft>
              <a:buNone/>
              <a:defRPr kumimoji="1" lang="ko-KR" altLang="en-US" sz="1300" b="1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1pPr>
            <a:lvl2pPr algn="l" rtl="0" fontAlgn="base" latinLnBrk="1">
              <a:spcBef>
                <a:spcPct val="0"/>
              </a:spcBef>
              <a:spcAft>
                <a:spcPct val="0"/>
              </a:spcAft>
              <a:defRPr kumimoji="1" lang="ko-KR" altLang="en-US" sz="1300" b="1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2pPr>
            <a:lvl3pPr algn="l" rtl="0" fontAlgn="base" latinLnBrk="1">
              <a:spcBef>
                <a:spcPct val="0"/>
              </a:spcBef>
              <a:spcAft>
                <a:spcPct val="0"/>
              </a:spcAft>
              <a:defRPr kumimoji="1" lang="ko-KR" altLang="en-US" sz="1300" b="1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3pPr>
            <a:lvl4pPr algn="l" rtl="0" fontAlgn="base" latinLnBrk="1">
              <a:spcBef>
                <a:spcPct val="0"/>
              </a:spcBef>
              <a:spcAft>
                <a:spcPct val="0"/>
              </a:spcAft>
              <a:defRPr kumimoji="1" lang="ko-KR" altLang="en-US" sz="1300" b="1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4pPr>
            <a:lvl5pPr algn="l" rtl="0" fontAlgn="base" latinLnBrk="1">
              <a:spcBef>
                <a:spcPct val="0"/>
              </a:spcBef>
              <a:spcAft>
                <a:spcPct val="0"/>
              </a:spcAft>
              <a:defRPr kumimoji="1" lang="ko-KR" altLang="en-US" sz="1300" b="1" kern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5pPr>
          </a:lstStyle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299489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85EA48AA-190A-48EB-A50C-AA4A94C70FB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algn="ctr"/>
              <a:t>‹#›</a:t>
            </a:fld>
            <a:r>
              <a:rPr lang="ko-KR" altLang="en-US">
                <a:solidFill>
                  <a:prstClr val="black">
                    <a:tint val="75000"/>
                  </a:prstClr>
                </a:solidFill>
              </a:rPr>
              <a:t> </a:t>
            </a:r>
            <a:r>
              <a:rPr lang="en-US" altLang="ko-KR">
                <a:solidFill>
                  <a:prstClr val="black">
                    <a:tint val="75000"/>
                  </a:prstClr>
                </a:solidFill>
              </a:rPr>
              <a:t>/ N</a:t>
            </a: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텍스트 개체 틀 8"/>
          <p:cNvSpPr>
            <a:spLocks noGrp="1"/>
          </p:cNvSpPr>
          <p:nvPr>
            <p:ph type="body" sz="quarter" idx="13" hasCustomPrompt="1"/>
          </p:nvPr>
        </p:nvSpPr>
        <p:spPr>
          <a:xfrm>
            <a:off x="8643169" y="123944"/>
            <a:ext cx="3457239" cy="331788"/>
          </a:xfrm>
          <a:prstGeom prst="rect">
            <a:avLst/>
          </a:prstGeom>
        </p:spPr>
        <p:txBody>
          <a:bodyPr/>
          <a:lstStyle>
            <a:lvl1pPr algn="r">
              <a:defRPr sz="2000" b="1"/>
            </a:lvl1pPr>
          </a:lstStyle>
          <a:p>
            <a:pPr lvl="0"/>
            <a:r>
              <a:rPr lang="ko-KR" altLang="en-US" dirty="0"/>
              <a:t>마스터 부제목</a:t>
            </a:r>
            <a:r>
              <a:rPr lang="en-US" altLang="ko-KR" dirty="0"/>
              <a:t> </a:t>
            </a:r>
            <a:r>
              <a:rPr lang="ko-KR" altLang="en-US"/>
              <a:t>스타일 편집</a:t>
            </a:r>
            <a:endParaRPr lang="ko-KR" altLang="en-US" dirty="0"/>
          </a:p>
        </p:txBody>
      </p:sp>
      <p:sp>
        <p:nvSpPr>
          <p:cNvPr id="11" name="텍스트 개체 틀 10"/>
          <p:cNvSpPr>
            <a:spLocks noGrp="1"/>
          </p:cNvSpPr>
          <p:nvPr>
            <p:ph type="body" sz="quarter" idx="14"/>
          </p:nvPr>
        </p:nvSpPr>
        <p:spPr>
          <a:xfrm>
            <a:off x="117232" y="620688"/>
            <a:ext cx="11881339" cy="64770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2160499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,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Arial Narrow" panose="020B0606020202030204" pitchFamily="34" charset="0"/>
                <a:cs typeface="Arial" pitchFamily="34" charset="0"/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161431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4"/>
          <p:cNvSpPr>
            <a:spLocks noGrp="1"/>
          </p:cNvSpPr>
          <p:nvPr>
            <p:ph type="title"/>
          </p:nvPr>
        </p:nvSpPr>
        <p:spPr>
          <a:xfrm>
            <a:off x="317782" y="116632"/>
            <a:ext cx="3065845" cy="349740"/>
          </a:xfrm>
        </p:spPr>
        <p:txBody>
          <a:bodyPr/>
          <a:lstStyle>
            <a:lvl1pPr>
              <a:defRPr>
                <a:latin typeface="Arial Narrow" panose="020B0606020202030204" pitchFamily="34" charset="0"/>
                <a:cs typeface="Arial" pitchFamily="34" charset="0"/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3" name="Line 7"/>
          <p:cNvSpPr>
            <a:spLocks noChangeShapeType="1"/>
          </p:cNvSpPr>
          <p:nvPr userDrawn="1"/>
        </p:nvSpPr>
        <p:spPr bwMode="auto">
          <a:xfrm>
            <a:off x="2118" y="533400"/>
            <a:ext cx="121898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latinLnBrk="0">
              <a:spcBef>
                <a:spcPct val="50000"/>
              </a:spcBef>
              <a:defRPr/>
            </a:pPr>
            <a:endParaRPr lang="en-US" sz="975" b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6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992544" y="6386473"/>
            <a:ext cx="1047946" cy="421758"/>
          </a:xfrm>
          <a:prstGeom prst="rect">
            <a:avLst/>
          </a:prstGeom>
          <a:noFill/>
        </p:spPr>
      </p:pic>
      <p:sp>
        <p:nvSpPr>
          <p:cNvPr id="8" name="Text Box 168"/>
          <p:cNvSpPr txBox="1">
            <a:spLocks noChangeArrowheads="1"/>
          </p:cNvSpPr>
          <p:nvPr userDrawn="1"/>
        </p:nvSpPr>
        <p:spPr bwMode="auto">
          <a:xfrm>
            <a:off x="5285999" y="116632"/>
            <a:ext cx="1620000" cy="288000"/>
          </a:xfrm>
          <a:prstGeom prst="rect">
            <a:avLst/>
          </a:prstGeom>
          <a:noFill/>
          <a:ln w="6350" cmpd="dbl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noAutofit/>
          </a:bodyPr>
          <a:lstStyle/>
          <a:p>
            <a:pPr algn="ctr"/>
            <a:r>
              <a:rPr lang="en-US" altLang="ko-KR" sz="1000" b="0" i="1">
                <a:solidFill>
                  <a:prstClr val="white">
                    <a:lumMod val="6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71189260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용만,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74775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내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7"/>
          <p:cNvSpPr>
            <a:spLocks noChangeShapeType="1"/>
          </p:cNvSpPr>
          <p:nvPr userDrawn="1"/>
        </p:nvSpPr>
        <p:spPr bwMode="auto">
          <a:xfrm>
            <a:off x="2118" y="533400"/>
            <a:ext cx="121898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latinLnBrk="0">
              <a:spcBef>
                <a:spcPct val="50000"/>
              </a:spcBef>
              <a:defRPr/>
            </a:pPr>
            <a:endParaRPr lang="en-US" sz="975" b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6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992544" y="6386473"/>
            <a:ext cx="1047946" cy="421758"/>
          </a:xfrm>
          <a:prstGeom prst="rect">
            <a:avLst/>
          </a:prstGeom>
          <a:noFill/>
        </p:spPr>
      </p:pic>
      <p:sp>
        <p:nvSpPr>
          <p:cNvPr id="8" name="Text Box 168"/>
          <p:cNvSpPr txBox="1">
            <a:spLocks noChangeArrowheads="1"/>
          </p:cNvSpPr>
          <p:nvPr userDrawn="1"/>
        </p:nvSpPr>
        <p:spPr bwMode="auto">
          <a:xfrm>
            <a:off x="5285999" y="116632"/>
            <a:ext cx="1620000" cy="288000"/>
          </a:xfrm>
          <a:prstGeom prst="rect">
            <a:avLst/>
          </a:prstGeom>
          <a:noFill/>
          <a:ln w="6350" cmpd="dbl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noAutofit/>
          </a:bodyPr>
          <a:lstStyle/>
          <a:p>
            <a:pPr algn="ctr"/>
            <a:r>
              <a:rPr lang="en-US" altLang="ko-KR" sz="1000" b="0" i="1">
                <a:solidFill>
                  <a:prstClr val="white">
                    <a:lumMod val="6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4659378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75017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298608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제목 6"/>
          <p:cNvSpPr>
            <a:spLocks noGrp="1"/>
          </p:cNvSpPr>
          <p:nvPr>
            <p:ph type="title" hasCustomPrompt="1"/>
          </p:nvPr>
        </p:nvSpPr>
        <p:spPr>
          <a:xfrm>
            <a:off x="217185" y="56148"/>
            <a:ext cx="6336016" cy="402892"/>
          </a:xfrm>
          <a:prstGeom prst="rect">
            <a:avLst/>
          </a:prstGeom>
        </p:spPr>
        <p:txBody>
          <a:bodyPr anchor="b"/>
          <a:lstStyle>
            <a:lvl1pPr algn="l">
              <a:defRPr sz="1846" b="1">
                <a:latin typeface="LG스마트체2.0 Regular" panose="020B0600000101010101" pitchFamily="50" charset="-127"/>
                <a:ea typeface="LG스마트체2.0 Regular" panose="020B0600000101010101" pitchFamily="50" charset="-127"/>
              </a:defRPr>
            </a:lvl1pPr>
          </a:lstStyle>
          <a:p>
            <a:r>
              <a:rPr lang="ko-KR" altLang="en-US" dirty="0"/>
              <a:t>제목</a:t>
            </a:r>
          </a:p>
        </p:txBody>
      </p:sp>
      <p:sp>
        <p:nvSpPr>
          <p:cNvPr id="8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5638801" y="82137"/>
            <a:ext cx="6336016" cy="376905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1477" b="1">
                <a:latin typeface="LG스마트체2.0 Regular" panose="020B0600000101010101" pitchFamily="50" charset="-127"/>
                <a:ea typeface="LG스마트체2.0 Regular" panose="020B0600000101010101" pitchFamily="50" charset="-127"/>
              </a:defRPr>
            </a:lvl1pPr>
          </a:lstStyle>
          <a:p>
            <a:pPr lvl="0"/>
            <a:r>
              <a:rPr lang="ko-KR" altLang="en-US" dirty="0"/>
              <a:t>부제목</a:t>
            </a:r>
          </a:p>
        </p:txBody>
      </p:sp>
      <p:sp>
        <p:nvSpPr>
          <p:cNvPr id="9" name="Line 39"/>
          <p:cNvSpPr>
            <a:spLocks noChangeShapeType="1"/>
          </p:cNvSpPr>
          <p:nvPr userDrawn="1"/>
        </p:nvSpPr>
        <p:spPr bwMode="auto">
          <a:xfrm>
            <a:off x="114462" y="499144"/>
            <a:ext cx="11963077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84363" tIns="42183" rIns="84363" bIns="42183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62" b="0">
              <a:solidFill>
                <a:prstClr val="black"/>
              </a:solidFill>
              <a:latin typeface="LG스마트체2.0 Regular" panose="020B0600000101010101" pitchFamily="50" charset="-127"/>
              <a:ea typeface="LG스마트체 Regular"/>
            </a:endParaRPr>
          </a:p>
        </p:txBody>
      </p:sp>
      <p:sp>
        <p:nvSpPr>
          <p:cNvPr id="11" name="텍스트 개체 틀 8"/>
          <p:cNvSpPr>
            <a:spLocks noGrp="1"/>
          </p:cNvSpPr>
          <p:nvPr>
            <p:ph type="body" sz="quarter" idx="11" hasCustomPrompt="1"/>
          </p:nvPr>
        </p:nvSpPr>
        <p:spPr>
          <a:xfrm>
            <a:off x="503477" y="593560"/>
            <a:ext cx="11185050" cy="37690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477" b="1">
                <a:latin typeface="LG스마트체2.0 Regular" panose="020B0600000101010101" pitchFamily="50" charset="-127"/>
                <a:ea typeface="LG스마트체2.0 Regular" panose="020B0600000101010101" pitchFamily="50" charset="-127"/>
              </a:defRPr>
            </a:lvl1pPr>
          </a:lstStyle>
          <a:p>
            <a:pPr lvl="0"/>
            <a:r>
              <a:rPr lang="ko-KR" altLang="en-US" dirty="0"/>
              <a:t>헤드메시지</a:t>
            </a:r>
          </a:p>
        </p:txBody>
      </p:sp>
      <p:sp>
        <p:nvSpPr>
          <p:cNvPr id="13" name="텍스트 개체 틀 5"/>
          <p:cNvSpPr>
            <a:spLocks noGrp="1"/>
          </p:cNvSpPr>
          <p:nvPr>
            <p:ph type="body" sz="quarter" idx="13" hasCustomPrompt="1"/>
          </p:nvPr>
        </p:nvSpPr>
        <p:spPr>
          <a:xfrm>
            <a:off x="217184" y="6460070"/>
            <a:ext cx="11741538" cy="165777"/>
          </a:xfrm>
          <a:prstGeom prst="rect">
            <a:avLst/>
          </a:prstGeom>
        </p:spPr>
        <p:txBody>
          <a:bodyPr tIns="0" bIns="0" anchor="b"/>
          <a:lstStyle>
            <a:lvl1pPr marL="0" indent="0">
              <a:lnSpc>
                <a:spcPct val="100000"/>
              </a:lnSpc>
              <a:buNone/>
              <a:defRPr sz="831">
                <a:latin typeface="LG스마트체2.0 Regular" panose="020B0600000101010101" pitchFamily="50" charset="-127"/>
                <a:ea typeface="LG스마트체2.0 Regular" panose="020B0600000101010101" pitchFamily="50" charset="-127"/>
              </a:defRPr>
            </a:lvl1pPr>
          </a:lstStyle>
          <a:p>
            <a:r>
              <a:rPr lang="ko-KR" altLang="en-US" sz="831" dirty="0"/>
              <a:t>주석</a:t>
            </a:r>
            <a:endParaRPr lang="en-US" altLang="ko-KR" sz="831" dirty="0"/>
          </a:p>
        </p:txBody>
      </p:sp>
    </p:spTree>
    <p:extLst>
      <p:ext uri="{BB962C8B-B14F-4D97-AF65-F5344CB8AC3E}">
        <p14:creationId xmlns:p14="http://schemas.microsoft.com/office/powerpoint/2010/main" val="71790316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27"/>
          <p:cNvSpPr>
            <a:spLocks noChangeShapeType="1"/>
          </p:cNvSpPr>
          <p:nvPr/>
        </p:nvSpPr>
        <p:spPr bwMode="auto">
          <a:xfrm>
            <a:off x="0" y="6357958"/>
            <a:ext cx="12192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Font typeface="Wingdings" pitchFamily="2" charset="2"/>
              <a:buChar char="l"/>
              <a:defRPr/>
            </a:pPr>
            <a:endParaRPr kumimoji="0" lang="ko-KR" altLang="en-US" sz="1800" b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" name="Line 24"/>
          <p:cNvSpPr>
            <a:spLocks noChangeShapeType="1"/>
          </p:cNvSpPr>
          <p:nvPr/>
        </p:nvSpPr>
        <p:spPr bwMode="auto">
          <a:xfrm>
            <a:off x="0" y="571500"/>
            <a:ext cx="121920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Font typeface="Wingdings" pitchFamily="2" charset="2"/>
              <a:buChar char="l"/>
              <a:defRPr/>
            </a:pPr>
            <a:endParaRPr kumimoji="0" lang="ko-KR" altLang="en-US" sz="1800" b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80960" y="71414"/>
            <a:ext cx="10814614" cy="455592"/>
          </a:xfrm>
        </p:spPr>
        <p:txBody>
          <a:bodyPr/>
          <a:lstStyle>
            <a:lvl1pPr>
              <a:defRPr baseline="0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0960" y="785795"/>
            <a:ext cx="11518004" cy="1438851"/>
          </a:xfrm>
        </p:spPr>
        <p:txBody>
          <a:bodyPr/>
          <a:lstStyle>
            <a:lvl1pPr marL="176213" indent="-176213">
              <a:spcBef>
                <a:spcPts val="600"/>
              </a:spcBef>
              <a:buClrTx/>
              <a:buSzPct val="75000"/>
              <a:defRPr sz="1600" baseline="0">
                <a:solidFill>
                  <a:schemeClr val="accent6">
                    <a:lumMod val="75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  <a:lvl2pPr marL="355600" indent="-177800">
              <a:lnSpc>
                <a:spcPct val="110000"/>
              </a:lnSpc>
              <a:spcBef>
                <a:spcPts val="300"/>
              </a:spcBef>
              <a:buSzPct val="70000"/>
              <a:defRPr baseline="0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2pPr>
            <a:lvl3pPr marL="628650" indent="-176213">
              <a:spcBef>
                <a:spcPts val="200"/>
              </a:spcBef>
              <a:defRPr b="0" baseline="0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3pPr>
            <a:lvl4pPr marL="808038" indent="-228600">
              <a:defRPr b="0" baseline="0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4pPr>
            <a:lvl5pPr>
              <a:defRPr baseline="0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ko-KR" altLang="en-US" dirty="0"/>
          </a:p>
        </p:txBody>
      </p:sp>
      <p:sp>
        <p:nvSpPr>
          <p:cNvPr id="7" name="Text Box 12"/>
          <p:cNvSpPr txBox="1">
            <a:spLocks noChangeArrowheads="1"/>
          </p:cNvSpPr>
          <p:nvPr userDrawn="1"/>
        </p:nvSpPr>
        <p:spPr bwMode="auto">
          <a:xfrm>
            <a:off x="9173329" y="6429397"/>
            <a:ext cx="2901482" cy="307777"/>
          </a:xfrm>
          <a:prstGeom prst="rect">
            <a:avLst/>
          </a:prstGeom>
          <a:noFill/>
          <a:ln w="9525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40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61737713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39"/>
          <p:cNvSpPr>
            <a:spLocks noChangeShapeType="1"/>
          </p:cNvSpPr>
          <p:nvPr userDrawn="1"/>
        </p:nvSpPr>
        <p:spPr bwMode="auto">
          <a:xfrm>
            <a:off x="0" y="476672"/>
            <a:ext cx="12192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91369" tIns="45687" rIns="91369" bIns="45687"/>
          <a:lstStyle/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3" name="직사각형 2"/>
          <p:cNvSpPr/>
          <p:nvPr userDrawn="1"/>
        </p:nvSpPr>
        <p:spPr>
          <a:xfrm>
            <a:off x="5375811" y="180980"/>
            <a:ext cx="1447810" cy="276987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29" tIns="45714" rIns="91429" bIns="45714">
            <a:spAutoFit/>
          </a:bodyPr>
          <a:lstStyle/>
          <a:p>
            <a:pPr>
              <a:defRPr/>
            </a:pPr>
            <a:r>
              <a:rPr lang="en-US" altLang="ko-KR" sz="1200" b="0">
                <a:solidFill>
                  <a:prstClr val="white">
                    <a:lumMod val="75000"/>
                  </a:prstClr>
                </a:solidFill>
                <a:latin typeface="Arial Narrow" pitchFamily="34" charset="0"/>
                <a:cs typeface="Arial" pitchFamily="34" charset="0"/>
              </a:rPr>
              <a:t>LGE Internal Use Only</a:t>
            </a:r>
            <a:endParaRPr lang="ko-KR" altLang="en-US" sz="1200" b="0">
              <a:solidFill>
                <a:prstClr val="white">
                  <a:lumMod val="75000"/>
                </a:prstClr>
              </a:solidFill>
              <a:latin typeface="Arial Narrow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58510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F0AF381-EE26-1F41-13AC-A840EDF030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882CF38E-FA7D-D1AD-15C1-9C54C62EB5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6FE94E6-4D4F-7128-BAB5-B002391C1C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2604C-8EAD-4006-A800-F21047AD1BE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. 9. 4.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A541F39-F53B-DA12-ADE2-8BEA3DDF28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F60F559-A0F9-6BB9-F3EB-B174B74940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46E0F-309B-4E1D-9F39-14B9DAA649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462865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C6F906E-66C5-F59E-667C-4C97F2514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ED7167C-7664-C06E-D163-D68532A3C7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3D61449-7CA2-CDAB-199E-98F385855A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2604C-8EAD-4006-A800-F21047AD1BE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. 9. 4.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F7C357C-C699-FE69-5525-2870302FE6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B04B0EA-F19D-7CBB-C75A-42ABA06FCD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46E0F-309B-4E1D-9F39-14B9DAA649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02657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D673879-9B52-4517-875E-C42A74807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73DC092-893A-B293-E22C-6129BFC8AD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A09B480-53E3-C396-B65A-6767E1C39F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2604C-8EAD-4006-A800-F21047AD1BE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. 9. 4.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C416782-D25A-321F-1722-524A9E6DC9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81AF8E8-868A-C790-A602-DB3C18CCDB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46E0F-309B-4E1D-9F39-14B9DAA649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40348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1307104-6A88-C0CE-5E3C-0AB932542C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08F6B99-BED9-FF7F-FB57-8FF27013217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78D0C961-C28B-0818-AF4A-668C80CD153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D35439FE-ED31-B5B5-9608-0291B8E3E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2604C-8EAD-4006-A800-F21047AD1BE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. 9. 4.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EBBB01B1-C3AA-5AA8-195E-35E68DA421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B92DD2E-7E60-E81F-ED95-7111E2F2D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46E0F-309B-4E1D-9F39-14B9DAA649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37437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AD64AC0-6D71-B39C-2722-7C0BD7A2F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61E75BF7-4C28-5477-1772-730986FB1C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67579DCD-EF86-2016-F134-819219C243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7E374077-3A12-2BCB-B7A1-2A2D22536C6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7F347DE-C61F-42C0-7F6F-504F45C51F5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18CE7CF1-C4AE-BFAF-36C1-47E1C969D7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2604C-8EAD-4006-A800-F21047AD1BE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. 9. 4.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75E2D167-5A3D-D9A5-C0A8-971844A1D0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D88AFA76-A727-A456-A3C4-D85237683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46E0F-309B-4E1D-9F39-14B9DAA649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5623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466C19C-E1A3-8FB5-E4D1-84E7B06829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327BF4D0-2F4A-2505-D47A-C024E3BDC2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2604C-8EAD-4006-A800-F21047AD1BE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. 9. 4.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FACF0813-6793-11B5-ED8A-37B387420B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C26367B6-4353-1C4C-6912-EEAE3A7B65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46E0F-309B-4E1D-9F39-14B9DAA649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84477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8CAE83E8-280B-A6D5-3A7D-7E068FF342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2604C-8EAD-4006-A800-F21047AD1BE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. 9. 4.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CB9D78C2-FCD3-6BF5-DAAF-D26C79D840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91E2B63-FFFE-C14C-4547-518D3AE7A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46E0F-309B-4E1D-9F39-14B9DAA649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173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77724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5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28620" y="6386473"/>
            <a:ext cx="971368" cy="421758"/>
          </a:xfrm>
          <a:prstGeom prst="rect">
            <a:avLst/>
          </a:prstGeom>
          <a:noFill/>
        </p:spPr>
      </p:pic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4724400" y="649451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fld id="{F215B1D4-4ECD-4DDE-91CE-96B0C20A54A9}" type="slidenum">
              <a:rPr lang="ko-KR" altLang="en-US" sz="1400" smtClean="0">
                <a:solidFill>
                  <a:prstClr val="black"/>
                </a:solidFill>
              </a:rPr>
              <a:pPr/>
              <a:t>‹#›</a:t>
            </a:fld>
            <a:r>
              <a:rPr lang="ko-KR" altLang="en-US">
                <a:solidFill>
                  <a:prstClr val="black"/>
                </a:solidFill>
              </a:rPr>
              <a:t> </a:t>
            </a:r>
            <a:r>
              <a:rPr lang="en-US" altLang="ko-KR">
                <a:solidFill>
                  <a:prstClr val="black"/>
                </a:solidFill>
              </a:rPr>
              <a:t>/ 36</a:t>
            </a:r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21679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269D476-BA4D-E802-3020-4DED3054E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2CE5063D-78B3-FCDF-7426-5C730CD8D3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90ABD245-6D72-3478-E05D-722DA1E36B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D9E58611-FBBC-AEDC-AE10-5AECFD9147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2604C-8EAD-4006-A800-F21047AD1BE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. 9. 4.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ED35BDC5-1C80-4002-14E2-34F9B599B7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FABA68A1-4A55-F9CC-B3B9-C5773BA05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46E0F-309B-4E1D-9F39-14B9DAA649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08529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8C8FB34-3AA7-3367-5C17-430403FE29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58F2037B-9036-A3EA-4B4F-8090040ECB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3F6A4497-EAC6-3636-B9EF-89F2B47FFA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5E9A3B99-41B8-DB6F-6F3C-4BE61247BC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2604C-8EAD-4006-A800-F21047AD1BE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. 9. 4.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4286A20-24D7-90BD-C63F-FC14543F5B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121C5226-BF28-857B-DCE1-DB64A6F827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46E0F-309B-4E1D-9F39-14B9DAA649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026014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E23FBE4-1ADF-408A-C959-C6B1A25CE3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5BD85EDF-4243-6F46-4ACF-F574B4080C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B7253AE-ACA4-F36C-F29B-7BA92B0A3C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2604C-8EAD-4006-A800-F21047AD1BE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. 9. 4.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7EECA45-063B-8CAD-D93F-8703B7C9B9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31082CE-4D1F-EFFB-0EF5-61B10E6971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46E0F-309B-4E1D-9F39-14B9DAA649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2412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38F396E2-EF8E-CF65-E6A9-302F0233EF5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41C1785E-151D-BAA6-44DC-B8EE2CA26C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CBC13BB-838B-A5FC-62A1-B4B1E90AE8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2604C-8EAD-4006-A800-F21047AD1BE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. 9. 4.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868C5D8-0BAD-0212-1BEE-7F17CED45C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428EE3C-941F-FC33-DF19-7143925404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46E0F-309B-4E1D-9F39-14B9DAA649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98283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87731" y="144839"/>
            <a:ext cx="1971694" cy="25006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>
              <a:defRPr sz="1625" b="1" baseline="0">
                <a:latin typeface="+mn-lt"/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0"/>
          </p:nvPr>
        </p:nvSpPr>
        <p:spPr>
          <a:xfrm>
            <a:off x="9050430" y="206397"/>
            <a:ext cx="2303516" cy="2000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r">
              <a:buNone/>
              <a:defRPr lang="ko-KR" altLang="en-US" sz="1300" b="1" baseline="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ko-KR" altLang="en-US" sz="3576" dirty="0" smtClean="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2pPr>
            <a:lvl3pPr>
              <a:defRPr lang="ko-KR" altLang="en-US" sz="3576" dirty="0" smtClean="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3pPr>
            <a:lvl4pPr>
              <a:defRPr lang="ko-KR" altLang="en-US" sz="3576" dirty="0" smtClean="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4pPr>
            <a:lvl5pPr>
              <a:defRPr lang="ko-KR" altLang="en-US" sz="3576" dirty="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ko-KR" altLang="en-US"/>
              <a:t>마스터 텍스트 스타일을 편집합니다</a:t>
            </a:r>
          </a:p>
        </p:txBody>
      </p:sp>
      <p:sp>
        <p:nvSpPr>
          <p:cNvPr id="7" name="Line 14"/>
          <p:cNvSpPr>
            <a:spLocks noChangeShapeType="1"/>
          </p:cNvSpPr>
          <p:nvPr userDrawn="1"/>
        </p:nvSpPr>
        <p:spPr bwMode="auto">
          <a:xfrm>
            <a:off x="0" y="534988"/>
            <a:ext cx="12192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 sz="1463" b="0" dirty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5372084" y="196874"/>
            <a:ext cx="1217000" cy="24237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975" b="0" dirty="0">
                <a:solidFill>
                  <a:prstClr val="white">
                    <a:lumMod val="75000"/>
                  </a:prstClr>
                </a:solidFill>
                <a:latin typeface="Arial Narrow"/>
                <a:ea typeface="LG스마트체 Regular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6686303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4"/>
          <p:cNvSpPr>
            <a:spLocks noChangeShapeType="1"/>
          </p:cNvSpPr>
          <p:nvPr userDrawn="1"/>
        </p:nvSpPr>
        <p:spPr bwMode="auto">
          <a:xfrm>
            <a:off x="0" y="534988"/>
            <a:ext cx="12192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 sz="1463" b="0" dirty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4" name="Text Box 9"/>
          <p:cNvSpPr txBox="1">
            <a:spLocks noChangeArrowheads="1"/>
          </p:cNvSpPr>
          <p:nvPr userDrawn="1"/>
        </p:nvSpPr>
        <p:spPr bwMode="auto">
          <a:xfrm>
            <a:off x="5372084" y="196874"/>
            <a:ext cx="1217000" cy="24237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975" b="0" dirty="0">
                <a:solidFill>
                  <a:prstClr val="white">
                    <a:lumMod val="75000"/>
                  </a:prstClr>
                </a:solidFill>
                <a:latin typeface="Arial Narrow"/>
                <a:ea typeface="LG스마트체 Regular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02472222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2"/>
          <p:cNvCxnSpPr>
            <a:cxnSpLocks noChangeShapeType="1"/>
          </p:cNvCxnSpPr>
          <p:nvPr userDrawn="1"/>
        </p:nvCxnSpPr>
        <p:spPr bwMode="auto">
          <a:xfrm>
            <a:off x="0" y="549275"/>
            <a:ext cx="12192000" cy="0"/>
          </a:xfrm>
          <a:prstGeom prst="line">
            <a:avLst/>
          </a:prstGeom>
          <a:noFill/>
          <a:ln w="317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" name="직사각형 4"/>
          <p:cNvSpPr/>
          <p:nvPr userDrawn="1"/>
        </p:nvSpPr>
        <p:spPr>
          <a:xfrm>
            <a:off x="5176502" y="125610"/>
            <a:ext cx="1811643" cy="27696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05" tIns="45703" rIns="91405" bIns="45703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altLang="ko-KR" sz="1200" dirty="0">
                <a:solidFill>
                  <a:srgbClr val="FFFF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LGE Internal Use Only</a:t>
            </a:r>
            <a:endParaRPr lang="ko-KR" altLang="en-US" sz="1200" dirty="0">
              <a:solidFill>
                <a:srgbClr val="FFFF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447941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8"/>
          <p:cNvSpPr>
            <a:spLocks noGrp="1"/>
          </p:cNvSpPr>
          <p:nvPr>
            <p:ph type="title"/>
          </p:nvPr>
        </p:nvSpPr>
        <p:spPr>
          <a:xfrm>
            <a:off x="609600" y="1196752"/>
            <a:ext cx="10972800" cy="1143000"/>
          </a:xfrm>
          <a:prstGeom prst="rect">
            <a:avLst/>
          </a:prstGeom>
        </p:spPr>
        <p:txBody>
          <a:bodyPr rtlCol="0">
            <a:normAutofit/>
          </a:bodyPr>
          <a:lstStyle>
            <a:lvl1pPr algn="ctr">
              <a:defRPr sz="3200" b="1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68604339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2"/>
          <p:cNvCxnSpPr>
            <a:cxnSpLocks noChangeShapeType="1"/>
          </p:cNvCxnSpPr>
          <p:nvPr userDrawn="1"/>
        </p:nvCxnSpPr>
        <p:spPr bwMode="auto">
          <a:xfrm>
            <a:off x="0" y="549275"/>
            <a:ext cx="12192000" cy="0"/>
          </a:xfrm>
          <a:prstGeom prst="line">
            <a:avLst/>
          </a:prstGeom>
          <a:noFill/>
          <a:ln w="317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36552586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2"/>
          <p:cNvCxnSpPr>
            <a:cxnSpLocks noChangeShapeType="1"/>
          </p:cNvCxnSpPr>
          <p:nvPr userDrawn="1"/>
        </p:nvCxnSpPr>
        <p:spPr bwMode="auto">
          <a:xfrm>
            <a:off x="0" y="549275"/>
            <a:ext cx="12192000" cy="0"/>
          </a:xfrm>
          <a:prstGeom prst="line">
            <a:avLst/>
          </a:prstGeom>
          <a:noFill/>
          <a:ln w="317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" name="직사각형 4"/>
          <p:cNvSpPr/>
          <p:nvPr userDrawn="1"/>
        </p:nvSpPr>
        <p:spPr>
          <a:xfrm>
            <a:off x="5176502" y="125610"/>
            <a:ext cx="1811643" cy="27696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05" tIns="45703" rIns="91405" bIns="45703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altLang="ko-KR" sz="1200" dirty="0">
                <a:solidFill>
                  <a:srgbClr val="FFFF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LGE Internal Use Only</a:t>
            </a:r>
            <a:endParaRPr lang="ko-KR" altLang="en-US" sz="1200" dirty="0">
              <a:solidFill>
                <a:srgbClr val="FFFF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3706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8873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77724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5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28620" y="6386473"/>
            <a:ext cx="971368" cy="421758"/>
          </a:xfrm>
          <a:prstGeom prst="rect">
            <a:avLst/>
          </a:prstGeom>
          <a:noFill/>
        </p:spPr>
      </p:pic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4724400" y="649451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fld id="{F215B1D4-4ECD-4DDE-91CE-96B0C20A54A9}" type="slidenum">
              <a:rPr lang="ko-KR" altLang="en-US" sz="1400" smtClean="0">
                <a:solidFill>
                  <a:prstClr val="black"/>
                </a:solidFill>
              </a:rPr>
              <a:pPr/>
              <a:t>‹#›</a:t>
            </a:fld>
            <a:r>
              <a:rPr lang="ko-KR" altLang="en-US">
                <a:solidFill>
                  <a:prstClr val="black"/>
                </a:solidFill>
              </a:rPr>
              <a:t> </a:t>
            </a:r>
            <a:r>
              <a:rPr lang="en-US" altLang="ko-KR">
                <a:solidFill>
                  <a:prstClr val="black"/>
                </a:solidFill>
              </a:rPr>
              <a:t>/ 36</a:t>
            </a:r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674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86304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22095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23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3.png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3.png"/><Relationship Id="rId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3.png"/><Relationship Id="rId5" Type="http://schemas.openxmlformats.org/officeDocument/2006/relationships/theme" Target="../theme/theme14.xml"/><Relationship Id="rId4" Type="http://schemas.openxmlformats.org/officeDocument/2006/relationships/slideLayout" Target="../slideLayouts/slideLayout33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15.xml"/><Relationship Id="rId1" Type="http://schemas.openxmlformats.org/officeDocument/2006/relationships/slideLayout" Target="../slideLayouts/slideLayout34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38.xml"/><Relationship Id="rId9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image" Target="../media/image5.svg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theme" Target="../theme/theme18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theme" Target="../theme/theme19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.xml"/></Relationships>
</file>

<file path=ppt/slideMasters/_rels/slideMaster20.xml.rels><?xml version="1.0" encoding="UTF-8" standalone="yes"?>
<Relationships xmlns="http://schemas.openxmlformats.org/package/2006/relationships"><Relationship Id="rId2" Type="http://schemas.openxmlformats.org/officeDocument/2006/relationships/theme" Target="../theme/theme20.xml"/><Relationship Id="rId1" Type="http://schemas.openxmlformats.org/officeDocument/2006/relationships/slideLayout" Target="../slideLayouts/slideLayout58.xml"/></Relationships>
</file>

<file path=ppt/slideMasters/_rels/slideMaster21.xml.rels><?xml version="1.0" encoding="UTF-8" standalone="yes"?>
<Relationships xmlns="http://schemas.openxmlformats.org/package/2006/relationships"><Relationship Id="rId2" Type="http://schemas.openxmlformats.org/officeDocument/2006/relationships/theme" Target="../theme/theme21.xml"/><Relationship Id="rId1" Type="http://schemas.openxmlformats.org/officeDocument/2006/relationships/slideLayout" Target="../slideLayouts/slideLayout59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8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623100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12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23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34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46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8" indent="-342908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69" indent="-285757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534987"/>
            <a:ext cx="12192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4" rIns="91429" bIns="45714"/>
          <a:lstStyle/>
          <a:p>
            <a:pPr defTabSz="914313"/>
            <a:endParaRPr lang="ko-KR" altLang="en-US" sz="130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" name="직사각형 2"/>
          <p:cNvSpPr/>
          <p:nvPr userDrawn="1"/>
        </p:nvSpPr>
        <p:spPr>
          <a:xfrm>
            <a:off x="5439764" y="125413"/>
            <a:ext cx="1284255" cy="25388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05" tIns="45703" rIns="91405" bIns="45703">
            <a:spAutoFit/>
          </a:bodyPr>
          <a:lstStyle/>
          <a:p>
            <a:pPr algn="ctr">
              <a:defRPr/>
            </a:pPr>
            <a:r>
              <a:rPr lang="en-US" altLang="ko-KR" sz="1050" b="0">
                <a:solidFill>
                  <a:srgbClr val="FFFFFF">
                    <a:lumMod val="75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 Internal Use Only</a:t>
            </a:r>
            <a:endParaRPr lang="ko-KR" altLang="en-US" sz="1050" b="0">
              <a:solidFill>
                <a:srgbClr val="FFFFFF">
                  <a:lumMod val="75000"/>
                </a:srgbClr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12900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  <p:sldLayoutId id="2147483885" r:id="rId4"/>
    <p:sldLayoutId id="2147483886" r:id="rId5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923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923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923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923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923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519449" algn="ctr" rtl="0" fontAlgn="base" latinLnBrk="1">
        <a:spcBef>
          <a:spcPct val="0"/>
        </a:spcBef>
        <a:spcAft>
          <a:spcPct val="0"/>
        </a:spcAft>
        <a:defRPr kumimoji="1" sz="5001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1038899" algn="ctr" rtl="0" fontAlgn="base" latinLnBrk="1">
        <a:spcBef>
          <a:spcPct val="0"/>
        </a:spcBef>
        <a:spcAft>
          <a:spcPct val="0"/>
        </a:spcAft>
        <a:defRPr kumimoji="1" sz="5001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558345" algn="ctr" rtl="0" fontAlgn="base" latinLnBrk="1">
        <a:spcBef>
          <a:spcPct val="0"/>
        </a:spcBef>
        <a:spcAft>
          <a:spcPct val="0"/>
        </a:spcAft>
        <a:defRPr kumimoji="1" sz="5001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2077793" algn="ctr" rtl="0" fontAlgn="base" latinLnBrk="1">
        <a:spcBef>
          <a:spcPct val="0"/>
        </a:spcBef>
        <a:spcAft>
          <a:spcPct val="0"/>
        </a:spcAft>
        <a:defRPr kumimoji="1" sz="5001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86881" indent="-386881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569">
          <a:solidFill>
            <a:schemeClr val="tx1"/>
          </a:solidFill>
          <a:latin typeface="+mn-lt"/>
          <a:ea typeface="+mn-ea"/>
          <a:cs typeface="+mn-cs"/>
        </a:defRPr>
      </a:lvl1pPr>
      <a:lvl2pPr marL="842150" indent="-322401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3077">
          <a:solidFill>
            <a:schemeClr val="tx1"/>
          </a:solidFill>
          <a:latin typeface="+mn-lt"/>
          <a:ea typeface="+mn-ea"/>
        </a:defRPr>
      </a:lvl2pPr>
      <a:lvl3pPr marL="1295465" indent="-255967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708">
          <a:solidFill>
            <a:schemeClr val="tx1"/>
          </a:solidFill>
          <a:latin typeface="+mn-lt"/>
          <a:ea typeface="+mn-ea"/>
        </a:defRPr>
      </a:lvl3pPr>
      <a:lvl4pPr marL="1815215" indent="-255967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>
          <a:solidFill>
            <a:schemeClr val="tx1"/>
          </a:solidFill>
          <a:latin typeface="+mn-lt"/>
          <a:ea typeface="+mn-ea"/>
        </a:defRPr>
      </a:lvl4pPr>
      <a:lvl5pPr marL="2334963" indent="-255967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>
          <a:solidFill>
            <a:schemeClr val="tx1"/>
          </a:solidFill>
          <a:latin typeface="+mn-lt"/>
          <a:ea typeface="+mn-ea"/>
        </a:defRPr>
      </a:lvl5pPr>
      <a:lvl6pPr marL="2856966" indent="-259725" algn="l" rtl="0" fontAlgn="base" latinLnBrk="1">
        <a:spcBef>
          <a:spcPct val="20000"/>
        </a:spcBef>
        <a:spcAft>
          <a:spcPct val="0"/>
        </a:spcAft>
        <a:buChar char="»"/>
        <a:defRPr kumimoji="1" sz="2273">
          <a:solidFill>
            <a:schemeClr val="tx1"/>
          </a:solidFill>
          <a:latin typeface="+mn-lt"/>
          <a:ea typeface="+mn-ea"/>
        </a:defRPr>
      </a:lvl6pPr>
      <a:lvl7pPr marL="3376417" indent="-259725" algn="l" rtl="0" fontAlgn="base" latinLnBrk="1">
        <a:spcBef>
          <a:spcPct val="20000"/>
        </a:spcBef>
        <a:spcAft>
          <a:spcPct val="0"/>
        </a:spcAft>
        <a:buChar char="»"/>
        <a:defRPr kumimoji="1" sz="2273">
          <a:solidFill>
            <a:schemeClr val="tx1"/>
          </a:solidFill>
          <a:latin typeface="+mn-lt"/>
          <a:ea typeface="+mn-ea"/>
        </a:defRPr>
      </a:lvl7pPr>
      <a:lvl8pPr marL="3895866" indent="-259725" algn="l" rtl="0" fontAlgn="base" latinLnBrk="1">
        <a:spcBef>
          <a:spcPct val="20000"/>
        </a:spcBef>
        <a:spcAft>
          <a:spcPct val="0"/>
        </a:spcAft>
        <a:buChar char="»"/>
        <a:defRPr kumimoji="1" sz="2273">
          <a:solidFill>
            <a:schemeClr val="tx1"/>
          </a:solidFill>
          <a:latin typeface="+mn-lt"/>
          <a:ea typeface="+mn-ea"/>
        </a:defRPr>
      </a:lvl8pPr>
      <a:lvl9pPr marL="4415312" indent="-259725" algn="l" rtl="0" fontAlgn="base" latinLnBrk="1">
        <a:spcBef>
          <a:spcPct val="20000"/>
        </a:spcBef>
        <a:spcAft>
          <a:spcPct val="0"/>
        </a:spcAft>
        <a:buChar char="»"/>
        <a:defRPr kumimoji="1" sz="2273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1038899" rtl="0" eaLnBrk="1" latinLnBrk="1" hangingPunct="1">
        <a:defRPr sz="2047" kern="1200">
          <a:solidFill>
            <a:schemeClr val="tx1"/>
          </a:solidFill>
          <a:latin typeface="+mn-lt"/>
          <a:ea typeface="+mn-ea"/>
          <a:cs typeface="+mn-cs"/>
        </a:defRPr>
      </a:lvl1pPr>
      <a:lvl2pPr marL="519449" algn="l" defTabSz="1038899" rtl="0" eaLnBrk="1" latinLnBrk="1" hangingPunct="1">
        <a:defRPr sz="2047" kern="1200">
          <a:solidFill>
            <a:schemeClr val="tx1"/>
          </a:solidFill>
          <a:latin typeface="+mn-lt"/>
          <a:ea typeface="+mn-ea"/>
          <a:cs typeface="+mn-cs"/>
        </a:defRPr>
      </a:lvl2pPr>
      <a:lvl3pPr marL="1038899" algn="l" defTabSz="1038899" rtl="0" eaLnBrk="1" latinLnBrk="1" hangingPunct="1">
        <a:defRPr sz="2047" kern="1200">
          <a:solidFill>
            <a:schemeClr val="tx1"/>
          </a:solidFill>
          <a:latin typeface="+mn-lt"/>
          <a:ea typeface="+mn-ea"/>
          <a:cs typeface="+mn-cs"/>
        </a:defRPr>
      </a:lvl3pPr>
      <a:lvl4pPr marL="1558345" algn="l" defTabSz="1038899" rtl="0" eaLnBrk="1" latinLnBrk="1" hangingPunct="1">
        <a:defRPr sz="2047" kern="1200">
          <a:solidFill>
            <a:schemeClr val="tx1"/>
          </a:solidFill>
          <a:latin typeface="+mn-lt"/>
          <a:ea typeface="+mn-ea"/>
          <a:cs typeface="+mn-cs"/>
        </a:defRPr>
      </a:lvl4pPr>
      <a:lvl5pPr marL="2077793" algn="l" defTabSz="1038899" rtl="0" eaLnBrk="1" latinLnBrk="1" hangingPunct="1">
        <a:defRPr sz="2047" kern="1200">
          <a:solidFill>
            <a:schemeClr val="tx1"/>
          </a:solidFill>
          <a:latin typeface="+mn-lt"/>
          <a:ea typeface="+mn-ea"/>
          <a:cs typeface="+mn-cs"/>
        </a:defRPr>
      </a:lvl5pPr>
      <a:lvl6pPr marL="2597243" algn="l" defTabSz="1038899" rtl="0" eaLnBrk="1" latinLnBrk="1" hangingPunct="1">
        <a:defRPr sz="2047" kern="1200">
          <a:solidFill>
            <a:schemeClr val="tx1"/>
          </a:solidFill>
          <a:latin typeface="+mn-lt"/>
          <a:ea typeface="+mn-ea"/>
          <a:cs typeface="+mn-cs"/>
        </a:defRPr>
      </a:lvl6pPr>
      <a:lvl7pPr marL="3116691" algn="l" defTabSz="1038899" rtl="0" eaLnBrk="1" latinLnBrk="1" hangingPunct="1">
        <a:defRPr sz="2047" kern="1200">
          <a:solidFill>
            <a:schemeClr val="tx1"/>
          </a:solidFill>
          <a:latin typeface="+mn-lt"/>
          <a:ea typeface="+mn-ea"/>
          <a:cs typeface="+mn-cs"/>
        </a:defRPr>
      </a:lvl7pPr>
      <a:lvl8pPr marL="3636139" algn="l" defTabSz="1038899" rtl="0" eaLnBrk="1" latinLnBrk="1" hangingPunct="1">
        <a:defRPr sz="2047" kern="1200">
          <a:solidFill>
            <a:schemeClr val="tx1"/>
          </a:solidFill>
          <a:latin typeface="+mn-lt"/>
          <a:ea typeface="+mn-ea"/>
          <a:cs typeface="+mn-cs"/>
        </a:defRPr>
      </a:lvl8pPr>
      <a:lvl9pPr marL="4155588" algn="l" defTabSz="1038899" rtl="0" eaLnBrk="1" latinLnBrk="1" hangingPunct="1">
        <a:defRPr sz="20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 userDrawn="1"/>
        </p:nvSpPr>
        <p:spPr>
          <a:xfrm>
            <a:off x="5480300" y="128271"/>
            <a:ext cx="1231404" cy="24620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29" tIns="45714" rIns="91429" bIns="45714">
            <a:spAutoFit/>
          </a:bodyPr>
          <a:lstStyle/>
          <a:p>
            <a:pPr algn="ctr">
              <a:defRPr/>
            </a:pPr>
            <a:r>
              <a:rPr lang="en-US" altLang="ko-KR" sz="1000" b="0">
                <a:solidFill>
                  <a:srgbClr val="BFBFBF"/>
                </a:solidFill>
                <a:latin typeface="Arial Narrow" panose="020B0606020202030204" pitchFamily="34" charset="0"/>
                <a:cs typeface="Arial" charset="0"/>
              </a:rPr>
              <a:t>LGE Internal Use Only</a:t>
            </a:r>
            <a:endParaRPr lang="ko-KR" altLang="en-US" sz="1000" b="0">
              <a:solidFill>
                <a:srgbClr val="BFBFBF"/>
              </a:solidFill>
              <a:latin typeface="Arial Narrow" panose="020B060602020203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6645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12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23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34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46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8" indent="-342908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69" indent="-285757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28" indent="-228606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40" indent="-228606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52" indent="-228606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63" indent="-228606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74" indent="-228606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86" indent="-228606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97" indent="-228606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Slide Elements"/>
          <p:cNvGrpSpPr>
            <a:grpSpLocks/>
          </p:cNvGrpSpPr>
          <p:nvPr userDrawn="1"/>
        </p:nvGrpSpPr>
        <p:grpSpPr bwMode="auto">
          <a:xfrm>
            <a:off x="166079" y="542925"/>
            <a:ext cx="11725030" cy="6288088"/>
            <a:chOff x="77" y="335"/>
            <a:chExt cx="5429" cy="3882"/>
          </a:xfrm>
        </p:grpSpPr>
        <p:sp>
          <p:nvSpPr>
            <p:cNvPr id="3891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57287" latinLnBrk="0">
                <a:defRPr/>
              </a:pPr>
              <a:r>
                <a:rPr kumimoji="0" lang="en-US" altLang="ko-KR" sz="1700" b="0">
                  <a:solidFill>
                    <a:srgbClr val="000000"/>
                  </a:solidFill>
                  <a:latin typeface="LG스마트체 Regular" panose="020B0600000101010101" pitchFamily="50" charset="-127"/>
                  <a:ea typeface="굴림" pitchFamily="50" charset="-127"/>
                </a:rPr>
                <a:t>Unit of measure</a:t>
              </a:r>
            </a:p>
          </p:txBody>
        </p:sp>
        <p:sp>
          <p:nvSpPr>
            <p:cNvPr id="3891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45"/>
              <a:ext cx="5145" cy="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614378" indent="-614378" defTabSz="957287" latinLnBrk="0">
                <a:tabLst>
                  <a:tab pos="569927" algn="r"/>
                </a:tabLst>
                <a:defRPr/>
              </a:pPr>
              <a:r>
                <a:rPr kumimoji="0" lang="en-US" altLang="ko-KR" sz="1300" b="0">
                  <a:solidFill>
                    <a:srgbClr val="000000"/>
                  </a:solidFill>
                  <a:latin typeface="LG스마트체 Regular" panose="020B0600000101010101" pitchFamily="50" charset="-127"/>
                  <a:ea typeface="굴림" pitchFamily="50" charset="-127"/>
                </a:rPr>
                <a:t>	*	Footnote</a:t>
              </a:r>
            </a:p>
            <a:p>
              <a:pPr marL="614378" indent="-614378" defTabSz="957287" latinLnBrk="0">
                <a:spcBef>
                  <a:spcPct val="20000"/>
                </a:spcBef>
                <a:tabLst>
                  <a:tab pos="569927" algn="r"/>
                </a:tabLst>
                <a:defRPr/>
              </a:pPr>
              <a:r>
                <a:rPr kumimoji="0" lang="en-US" altLang="ko-KR" sz="1300" b="0">
                  <a:solidFill>
                    <a:srgbClr val="000000"/>
                  </a:solidFill>
                  <a:latin typeface="LG스마트체 Regular" panose="020B0600000101010101" pitchFamily="50" charset="-127"/>
                  <a:ea typeface="굴림" pitchFamily="50" charset="-127"/>
                </a:rPr>
                <a:t>Source:		Source</a:t>
              </a:r>
            </a:p>
          </p:txBody>
        </p:sp>
      </p:grpSp>
      <p:sp>
        <p:nvSpPr>
          <p:cNvPr id="38919" name="Working Draft" hidden="1"/>
          <p:cNvSpPr txBox="1">
            <a:spLocks noChangeArrowheads="1"/>
          </p:cNvSpPr>
          <p:nvPr userDrawn="1"/>
        </p:nvSpPr>
        <p:spPr bwMode="auto">
          <a:xfrm rot="5400000">
            <a:off x="11138021" y="2793083"/>
            <a:ext cx="19203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77924" latinLnBrk="0">
              <a:defRPr/>
            </a:pPr>
            <a:r>
              <a:rPr kumimoji="0" lang="en-US" altLang="ko-KR" sz="600" b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itchFamily="18" charset="-127"/>
              </a:rPr>
              <a:t>Working Draft - Last Modified 4/14/2004 11:42:37 AM</a:t>
            </a:r>
          </a:p>
        </p:txBody>
      </p:sp>
      <p:sp>
        <p:nvSpPr>
          <p:cNvPr id="38920" name="Printed" hidden="1"/>
          <p:cNvSpPr txBox="1">
            <a:spLocks noChangeArrowheads="1"/>
          </p:cNvSpPr>
          <p:nvPr userDrawn="1"/>
        </p:nvSpPr>
        <p:spPr bwMode="auto">
          <a:xfrm rot="5400000">
            <a:off x="11978695" y="3928146"/>
            <a:ext cx="246862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77924" latinLnBrk="0">
              <a:defRPr/>
            </a:pPr>
            <a:r>
              <a:rPr kumimoji="0" lang="en-US" altLang="ko-KR" sz="600" b="0">
                <a:solidFill>
                  <a:srgbClr val="000000"/>
                </a:solidFill>
                <a:latin typeface="LG스마트체 Regular" panose="020B0600000101010101" pitchFamily="50" charset="-127"/>
                <a:ea typeface="굴림" pitchFamily="50" charset="-127"/>
              </a:rPr>
              <a:t>Printed</a:t>
            </a:r>
          </a:p>
        </p:txBody>
      </p:sp>
      <p:sp>
        <p:nvSpPr>
          <p:cNvPr id="8" name="Line 39"/>
          <p:cNvSpPr>
            <a:spLocks noChangeShapeType="1"/>
          </p:cNvSpPr>
          <p:nvPr userDrawn="1"/>
        </p:nvSpPr>
        <p:spPr bwMode="auto">
          <a:xfrm>
            <a:off x="0" y="548680"/>
            <a:ext cx="12192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84341" tIns="42173" rIns="84341" bIns="42173"/>
          <a:lstStyle/>
          <a:p>
            <a:pPr>
              <a:defRPr/>
            </a:pPr>
            <a:endParaRPr lang="ko-KR" altLang="en-US" sz="1846">
              <a:solidFill>
                <a:srgbClr val="000000"/>
              </a:solidFill>
              <a:ea typeface="LG스마트체 Regular" pitchFamily="50" charset="-127"/>
            </a:endParaRPr>
          </a:p>
        </p:txBody>
      </p:sp>
      <p:pic>
        <p:nvPicPr>
          <p:cNvPr id="9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843031" y="6386473"/>
            <a:ext cx="1195530" cy="42175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42378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</p:sldLayoutIdLst>
  <p:txStyles>
    <p:titleStyle>
      <a:lvl1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2pPr>
      <a:lvl3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3pPr>
      <a:lvl4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4pPr>
      <a:lvl5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5pPr>
      <a:lvl6pPr marL="457212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6pPr>
      <a:lvl7pPr marL="914423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7pPr>
      <a:lvl8pPr marL="1371634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8pPr>
      <a:lvl9pPr marL="1828846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9pPr>
    </p:titleStyle>
    <p:bodyStyle>
      <a:lvl1pPr algn="l" defTabSz="957287" rtl="0" eaLnBrk="0" fontAlgn="base" latinLnBrk="1" hangingPunct="0">
        <a:spcBef>
          <a:spcPct val="0"/>
        </a:spcBef>
        <a:spcAft>
          <a:spcPct val="0"/>
        </a:spcAft>
        <a:buSzPct val="120000"/>
        <a:defRPr kumimoji="1" sz="1600" b="1">
          <a:solidFill>
            <a:schemeClr val="tx1"/>
          </a:solidFill>
          <a:latin typeface="+mn-lt"/>
          <a:ea typeface="+mn-ea"/>
          <a:cs typeface="+mn-cs"/>
        </a:defRPr>
      </a:lvl1pPr>
      <a:lvl2pPr marL="153992" indent="-152404" algn="l" defTabSz="957287" rtl="0" eaLnBrk="0" fontAlgn="base" latinLnBrk="1" hangingPunct="0">
        <a:spcBef>
          <a:spcPct val="0"/>
        </a:spcBef>
        <a:spcAft>
          <a:spcPct val="0"/>
        </a:spcAft>
        <a:buSzPct val="120000"/>
        <a:buChar char="•"/>
        <a:defRPr kumimoji="1" sz="1600" b="1">
          <a:solidFill>
            <a:schemeClr val="tx1"/>
          </a:solidFill>
          <a:latin typeface="+mn-lt"/>
          <a:ea typeface="+mn-ea"/>
        </a:defRPr>
      </a:lvl2pPr>
      <a:lvl3pPr marL="315921" indent="-160342" algn="l" defTabSz="957287" rtl="0" eaLnBrk="0" fontAlgn="base" latinLnBrk="1" hangingPunct="0">
        <a:spcBef>
          <a:spcPct val="0"/>
        </a:spcBef>
        <a:spcAft>
          <a:spcPct val="0"/>
        </a:spcAft>
        <a:buChar char="–"/>
        <a:defRPr kumimoji="1" sz="1600" b="1">
          <a:solidFill>
            <a:schemeClr val="tx1"/>
          </a:solidFill>
          <a:latin typeface="+mn-lt"/>
          <a:ea typeface="+mn-ea"/>
        </a:defRPr>
      </a:lvl3pPr>
      <a:lvl4pPr marL="461975" indent="-144467" algn="l" defTabSz="957287" rtl="0" eaLnBrk="0" fontAlgn="base" latinLnBrk="1" hangingPunct="0">
        <a:spcBef>
          <a:spcPct val="0"/>
        </a:spcBef>
        <a:spcAft>
          <a:spcPct val="0"/>
        </a:spcAft>
        <a:buSzPct val="89000"/>
        <a:buChar char="•"/>
        <a:defRPr kumimoji="1" sz="1600" b="1">
          <a:solidFill>
            <a:schemeClr val="tx1"/>
          </a:solidFill>
          <a:latin typeface="+mn-lt"/>
          <a:ea typeface="+mn-ea"/>
        </a:defRPr>
      </a:lvl4pPr>
      <a:lvl5pPr marL="622316" indent="-158754" algn="l" defTabSz="957287" rtl="0" eaLnBrk="0" fontAlgn="base" latinLnBrk="1" hangingPunct="0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5pPr>
      <a:lvl6pPr marL="1079527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6pPr>
      <a:lvl7pPr marL="1536738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7pPr>
      <a:lvl8pPr marL="1993950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8pPr>
      <a:lvl9pPr marL="2451161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Slide Elements"/>
          <p:cNvGrpSpPr>
            <a:grpSpLocks/>
          </p:cNvGrpSpPr>
          <p:nvPr userDrawn="1"/>
        </p:nvGrpSpPr>
        <p:grpSpPr bwMode="auto">
          <a:xfrm>
            <a:off x="166079" y="542925"/>
            <a:ext cx="11725030" cy="6288088"/>
            <a:chOff x="77" y="335"/>
            <a:chExt cx="5429" cy="3882"/>
          </a:xfrm>
        </p:grpSpPr>
        <p:sp>
          <p:nvSpPr>
            <p:cNvPr id="3891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57287" latinLnBrk="0">
                <a:defRPr/>
              </a:pPr>
              <a:r>
                <a:rPr kumimoji="0" lang="en-US" altLang="ko-KR" sz="1700" b="0">
                  <a:solidFill>
                    <a:srgbClr val="000000"/>
                  </a:solidFill>
                  <a:latin typeface="LG스마트체 Regular" panose="020B0600000101010101" pitchFamily="50" charset="-127"/>
                  <a:ea typeface="굴림" pitchFamily="50" charset="-127"/>
                </a:rPr>
                <a:t>Unit of measure</a:t>
              </a:r>
            </a:p>
          </p:txBody>
        </p:sp>
        <p:sp>
          <p:nvSpPr>
            <p:cNvPr id="3891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45"/>
              <a:ext cx="5145" cy="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614378" indent="-614378" defTabSz="957287" latinLnBrk="0">
                <a:tabLst>
                  <a:tab pos="569927" algn="r"/>
                </a:tabLst>
                <a:defRPr/>
              </a:pPr>
              <a:r>
                <a:rPr kumimoji="0" lang="en-US" altLang="ko-KR" sz="1300" b="0">
                  <a:solidFill>
                    <a:srgbClr val="000000"/>
                  </a:solidFill>
                  <a:latin typeface="LG스마트체 Regular" panose="020B0600000101010101" pitchFamily="50" charset="-127"/>
                  <a:ea typeface="굴림" pitchFamily="50" charset="-127"/>
                </a:rPr>
                <a:t>	*	Footnote</a:t>
              </a:r>
            </a:p>
            <a:p>
              <a:pPr marL="614378" indent="-614378" defTabSz="957287" latinLnBrk="0">
                <a:spcBef>
                  <a:spcPct val="20000"/>
                </a:spcBef>
                <a:tabLst>
                  <a:tab pos="569927" algn="r"/>
                </a:tabLst>
                <a:defRPr/>
              </a:pPr>
              <a:r>
                <a:rPr kumimoji="0" lang="en-US" altLang="ko-KR" sz="1300" b="0">
                  <a:solidFill>
                    <a:srgbClr val="000000"/>
                  </a:solidFill>
                  <a:latin typeface="LG스마트체 Regular" panose="020B0600000101010101" pitchFamily="50" charset="-127"/>
                  <a:ea typeface="굴림" pitchFamily="50" charset="-127"/>
                </a:rPr>
                <a:t>Source:		Source</a:t>
              </a:r>
            </a:p>
          </p:txBody>
        </p:sp>
      </p:grpSp>
      <p:sp>
        <p:nvSpPr>
          <p:cNvPr id="38919" name="Working Draft" hidden="1"/>
          <p:cNvSpPr txBox="1">
            <a:spLocks noChangeArrowheads="1"/>
          </p:cNvSpPr>
          <p:nvPr userDrawn="1"/>
        </p:nvSpPr>
        <p:spPr bwMode="auto">
          <a:xfrm rot="5400000">
            <a:off x="11138021" y="2793083"/>
            <a:ext cx="19203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77924" latinLnBrk="0">
              <a:defRPr/>
            </a:pPr>
            <a:r>
              <a:rPr kumimoji="0" lang="en-US" altLang="ko-KR" sz="600" b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itchFamily="18" charset="-127"/>
              </a:rPr>
              <a:t>Working Draft - Last Modified 4/14/2004 11:42:37 AM</a:t>
            </a:r>
          </a:p>
        </p:txBody>
      </p:sp>
      <p:sp>
        <p:nvSpPr>
          <p:cNvPr id="38920" name="Printed" hidden="1"/>
          <p:cNvSpPr txBox="1">
            <a:spLocks noChangeArrowheads="1"/>
          </p:cNvSpPr>
          <p:nvPr userDrawn="1"/>
        </p:nvSpPr>
        <p:spPr bwMode="auto">
          <a:xfrm rot="5400000">
            <a:off x="11978695" y="3928146"/>
            <a:ext cx="246862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77924" latinLnBrk="0">
              <a:defRPr/>
            </a:pPr>
            <a:r>
              <a:rPr kumimoji="0" lang="en-US" altLang="ko-KR" sz="600" b="0">
                <a:solidFill>
                  <a:srgbClr val="000000"/>
                </a:solidFill>
                <a:latin typeface="LG스마트체 Regular" panose="020B0600000101010101" pitchFamily="50" charset="-127"/>
                <a:ea typeface="굴림" pitchFamily="50" charset="-127"/>
              </a:rPr>
              <a:t>Printed</a:t>
            </a:r>
          </a:p>
        </p:txBody>
      </p:sp>
      <p:sp>
        <p:nvSpPr>
          <p:cNvPr id="8" name="Line 39"/>
          <p:cNvSpPr>
            <a:spLocks noChangeShapeType="1"/>
          </p:cNvSpPr>
          <p:nvPr userDrawn="1"/>
        </p:nvSpPr>
        <p:spPr bwMode="auto">
          <a:xfrm>
            <a:off x="0" y="548680"/>
            <a:ext cx="12192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84341" tIns="42173" rIns="84341" bIns="42173"/>
          <a:lstStyle/>
          <a:p>
            <a:pPr>
              <a:defRPr/>
            </a:pPr>
            <a:endParaRPr lang="ko-KR" altLang="en-US" sz="1846">
              <a:solidFill>
                <a:srgbClr val="000000"/>
              </a:solidFill>
              <a:ea typeface="LG스마트체 Regular" pitchFamily="50" charset="-127"/>
            </a:endParaRPr>
          </a:p>
        </p:txBody>
      </p:sp>
      <p:pic>
        <p:nvPicPr>
          <p:cNvPr id="9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843031" y="6386473"/>
            <a:ext cx="1195530" cy="42175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18467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</p:sldLayoutIdLst>
  <p:txStyles>
    <p:titleStyle>
      <a:lvl1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2pPr>
      <a:lvl3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3pPr>
      <a:lvl4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4pPr>
      <a:lvl5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5pPr>
      <a:lvl6pPr marL="457212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6pPr>
      <a:lvl7pPr marL="914423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7pPr>
      <a:lvl8pPr marL="1371634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8pPr>
      <a:lvl9pPr marL="1828846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9pPr>
    </p:titleStyle>
    <p:bodyStyle>
      <a:lvl1pPr algn="l" defTabSz="957287" rtl="0" eaLnBrk="0" fontAlgn="base" latinLnBrk="1" hangingPunct="0">
        <a:spcBef>
          <a:spcPct val="0"/>
        </a:spcBef>
        <a:spcAft>
          <a:spcPct val="0"/>
        </a:spcAft>
        <a:buSzPct val="120000"/>
        <a:defRPr kumimoji="1" sz="1600" b="1">
          <a:solidFill>
            <a:schemeClr val="tx1"/>
          </a:solidFill>
          <a:latin typeface="+mn-lt"/>
          <a:ea typeface="+mn-ea"/>
          <a:cs typeface="+mn-cs"/>
        </a:defRPr>
      </a:lvl1pPr>
      <a:lvl2pPr marL="153992" indent="-152404" algn="l" defTabSz="957287" rtl="0" eaLnBrk="0" fontAlgn="base" latinLnBrk="1" hangingPunct="0">
        <a:spcBef>
          <a:spcPct val="0"/>
        </a:spcBef>
        <a:spcAft>
          <a:spcPct val="0"/>
        </a:spcAft>
        <a:buSzPct val="120000"/>
        <a:buChar char="•"/>
        <a:defRPr kumimoji="1" sz="1600" b="1">
          <a:solidFill>
            <a:schemeClr val="tx1"/>
          </a:solidFill>
          <a:latin typeface="+mn-lt"/>
          <a:ea typeface="+mn-ea"/>
        </a:defRPr>
      </a:lvl2pPr>
      <a:lvl3pPr marL="315921" indent="-160342" algn="l" defTabSz="957287" rtl="0" eaLnBrk="0" fontAlgn="base" latinLnBrk="1" hangingPunct="0">
        <a:spcBef>
          <a:spcPct val="0"/>
        </a:spcBef>
        <a:spcAft>
          <a:spcPct val="0"/>
        </a:spcAft>
        <a:buChar char="–"/>
        <a:defRPr kumimoji="1" sz="1600" b="1">
          <a:solidFill>
            <a:schemeClr val="tx1"/>
          </a:solidFill>
          <a:latin typeface="+mn-lt"/>
          <a:ea typeface="+mn-ea"/>
        </a:defRPr>
      </a:lvl3pPr>
      <a:lvl4pPr marL="461975" indent="-144467" algn="l" defTabSz="957287" rtl="0" eaLnBrk="0" fontAlgn="base" latinLnBrk="1" hangingPunct="0">
        <a:spcBef>
          <a:spcPct val="0"/>
        </a:spcBef>
        <a:spcAft>
          <a:spcPct val="0"/>
        </a:spcAft>
        <a:buSzPct val="89000"/>
        <a:buChar char="•"/>
        <a:defRPr kumimoji="1" sz="1600" b="1">
          <a:solidFill>
            <a:schemeClr val="tx1"/>
          </a:solidFill>
          <a:latin typeface="+mn-lt"/>
          <a:ea typeface="+mn-ea"/>
        </a:defRPr>
      </a:lvl4pPr>
      <a:lvl5pPr marL="622316" indent="-158754" algn="l" defTabSz="957287" rtl="0" eaLnBrk="0" fontAlgn="base" latinLnBrk="1" hangingPunct="0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5pPr>
      <a:lvl6pPr marL="1079527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6pPr>
      <a:lvl7pPr marL="1536738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7pPr>
      <a:lvl8pPr marL="1993950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8pPr>
      <a:lvl9pPr marL="2451161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Slide Elements"/>
          <p:cNvGrpSpPr>
            <a:grpSpLocks/>
          </p:cNvGrpSpPr>
          <p:nvPr userDrawn="1"/>
        </p:nvGrpSpPr>
        <p:grpSpPr bwMode="auto">
          <a:xfrm>
            <a:off x="166079" y="542925"/>
            <a:ext cx="11725030" cy="6288088"/>
            <a:chOff x="77" y="335"/>
            <a:chExt cx="5429" cy="3882"/>
          </a:xfrm>
        </p:grpSpPr>
        <p:sp>
          <p:nvSpPr>
            <p:cNvPr id="3891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57287" latinLnBrk="0">
                <a:defRPr/>
              </a:pPr>
              <a:r>
                <a:rPr kumimoji="0" lang="en-US" altLang="ko-KR" sz="1700" b="0">
                  <a:solidFill>
                    <a:srgbClr val="000000"/>
                  </a:solidFill>
                  <a:latin typeface="LG스마트체 Regular" panose="020B0600000101010101" pitchFamily="50" charset="-127"/>
                  <a:ea typeface="굴림" pitchFamily="50" charset="-127"/>
                </a:rPr>
                <a:t>Unit of measure</a:t>
              </a:r>
            </a:p>
          </p:txBody>
        </p:sp>
        <p:sp>
          <p:nvSpPr>
            <p:cNvPr id="3891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45"/>
              <a:ext cx="5145" cy="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614378" indent="-614378" defTabSz="957287" latinLnBrk="0">
                <a:tabLst>
                  <a:tab pos="569927" algn="r"/>
                </a:tabLst>
                <a:defRPr/>
              </a:pPr>
              <a:r>
                <a:rPr kumimoji="0" lang="en-US" altLang="ko-KR" sz="1300" b="0">
                  <a:solidFill>
                    <a:srgbClr val="000000"/>
                  </a:solidFill>
                  <a:latin typeface="LG스마트체 Regular" panose="020B0600000101010101" pitchFamily="50" charset="-127"/>
                  <a:ea typeface="굴림" pitchFamily="50" charset="-127"/>
                </a:rPr>
                <a:t>	*	Footnote</a:t>
              </a:r>
            </a:p>
            <a:p>
              <a:pPr marL="614378" indent="-614378" defTabSz="957287" latinLnBrk="0">
                <a:spcBef>
                  <a:spcPct val="20000"/>
                </a:spcBef>
                <a:tabLst>
                  <a:tab pos="569927" algn="r"/>
                </a:tabLst>
                <a:defRPr/>
              </a:pPr>
              <a:r>
                <a:rPr kumimoji="0" lang="en-US" altLang="ko-KR" sz="1300" b="0">
                  <a:solidFill>
                    <a:srgbClr val="000000"/>
                  </a:solidFill>
                  <a:latin typeface="LG스마트체 Regular" panose="020B0600000101010101" pitchFamily="50" charset="-127"/>
                  <a:ea typeface="굴림" pitchFamily="50" charset="-127"/>
                </a:rPr>
                <a:t>Source:		Source</a:t>
              </a:r>
            </a:p>
          </p:txBody>
        </p:sp>
      </p:grpSp>
      <p:sp>
        <p:nvSpPr>
          <p:cNvPr id="38919" name="Working Draft" hidden="1"/>
          <p:cNvSpPr txBox="1">
            <a:spLocks noChangeArrowheads="1"/>
          </p:cNvSpPr>
          <p:nvPr userDrawn="1"/>
        </p:nvSpPr>
        <p:spPr bwMode="auto">
          <a:xfrm rot="5400000">
            <a:off x="11138021" y="2793083"/>
            <a:ext cx="19203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77924" latinLnBrk="0">
              <a:defRPr/>
            </a:pPr>
            <a:r>
              <a:rPr kumimoji="0" lang="en-US" altLang="ko-KR" sz="600" b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itchFamily="18" charset="-127"/>
              </a:rPr>
              <a:t>Working Draft - Last Modified 4/14/2004 11:42:37 AM</a:t>
            </a:r>
          </a:p>
        </p:txBody>
      </p:sp>
      <p:sp>
        <p:nvSpPr>
          <p:cNvPr id="38920" name="Printed" hidden="1"/>
          <p:cNvSpPr txBox="1">
            <a:spLocks noChangeArrowheads="1"/>
          </p:cNvSpPr>
          <p:nvPr userDrawn="1"/>
        </p:nvSpPr>
        <p:spPr bwMode="auto">
          <a:xfrm rot="5400000">
            <a:off x="11978695" y="3928146"/>
            <a:ext cx="246862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77924" latinLnBrk="0">
              <a:defRPr/>
            </a:pPr>
            <a:r>
              <a:rPr kumimoji="0" lang="en-US" altLang="ko-KR" sz="600" b="0">
                <a:solidFill>
                  <a:srgbClr val="000000"/>
                </a:solidFill>
                <a:latin typeface="LG스마트체 Regular" panose="020B0600000101010101" pitchFamily="50" charset="-127"/>
                <a:ea typeface="굴림" pitchFamily="50" charset="-127"/>
              </a:rPr>
              <a:t>Printed</a:t>
            </a:r>
          </a:p>
        </p:txBody>
      </p:sp>
      <p:sp>
        <p:nvSpPr>
          <p:cNvPr id="8" name="Line 39"/>
          <p:cNvSpPr>
            <a:spLocks noChangeShapeType="1"/>
          </p:cNvSpPr>
          <p:nvPr userDrawn="1"/>
        </p:nvSpPr>
        <p:spPr bwMode="auto">
          <a:xfrm>
            <a:off x="0" y="548680"/>
            <a:ext cx="12192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84341" tIns="42173" rIns="84341" bIns="42173"/>
          <a:lstStyle/>
          <a:p>
            <a:pPr>
              <a:defRPr/>
            </a:pPr>
            <a:endParaRPr lang="ko-KR" altLang="en-US" sz="1846">
              <a:solidFill>
                <a:srgbClr val="000000"/>
              </a:solidFill>
              <a:ea typeface="LG스마트체 Regular" pitchFamily="50" charset="-127"/>
            </a:endParaRPr>
          </a:p>
        </p:txBody>
      </p:sp>
      <p:pic>
        <p:nvPicPr>
          <p:cNvPr id="9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843031" y="6386473"/>
            <a:ext cx="1195530" cy="42175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63634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</p:sldLayoutIdLst>
  <p:txStyles>
    <p:titleStyle>
      <a:lvl1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2pPr>
      <a:lvl3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3pPr>
      <a:lvl4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4pPr>
      <a:lvl5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5pPr>
      <a:lvl6pPr marL="457212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6pPr>
      <a:lvl7pPr marL="914423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7pPr>
      <a:lvl8pPr marL="1371634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8pPr>
      <a:lvl9pPr marL="1828846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9pPr>
    </p:titleStyle>
    <p:bodyStyle>
      <a:lvl1pPr algn="l" defTabSz="957287" rtl="0" eaLnBrk="0" fontAlgn="base" latinLnBrk="1" hangingPunct="0">
        <a:spcBef>
          <a:spcPct val="0"/>
        </a:spcBef>
        <a:spcAft>
          <a:spcPct val="0"/>
        </a:spcAft>
        <a:buSzPct val="120000"/>
        <a:defRPr kumimoji="1" sz="1600" b="1">
          <a:solidFill>
            <a:schemeClr val="tx1"/>
          </a:solidFill>
          <a:latin typeface="+mn-lt"/>
          <a:ea typeface="+mn-ea"/>
          <a:cs typeface="+mn-cs"/>
        </a:defRPr>
      </a:lvl1pPr>
      <a:lvl2pPr marL="153992" indent="-152404" algn="l" defTabSz="957287" rtl="0" eaLnBrk="0" fontAlgn="base" latinLnBrk="1" hangingPunct="0">
        <a:spcBef>
          <a:spcPct val="0"/>
        </a:spcBef>
        <a:spcAft>
          <a:spcPct val="0"/>
        </a:spcAft>
        <a:buSzPct val="120000"/>
        <a:buChar char="•"/>
        <a:defRPr kumimoji="1" sz="1600" b="1">
          <a:solidFill>
            <a:schemeClr val="tx1"/>
          </a:solidFill>
          <a:latin typeface="+mn-lt"/>
          <a:ea typeface="+mn-ea"/>
        </a:defRPr>
      </a:lvl2pPr>
      <a:lvl3pPr marL="315921" indent="-160342" algn="l" defTabSz="957287" rtl="0" eaLnBrk="0" fontAlgn="base" latinLnBrk="1" hangingPunct="0">
        <a:spcBef>
          <a:spcPct val="0"/>
        </a:spcBef>
        <a:spcAft>
          <a:spcPct val="0"/>
        </a:spcAft>
        <a:buChar char="–"/>
        <a:defRPr kumimoji="1" sz="1600" b="1">
          <a:solidFill>
            <a:schemeClr val="tx1"/>
          </a:solidFill>
          <a:latin typeface="+mn-lt"/>
          <a:ea typeface="+mn-ea"/>
        </a:defRPr>
      </a:lvl3pPr>
      <a:lvl4pPr marL="461975" indent="-144467" algn="l" defTabSz="957287" rtl="0" eaLnBrk="0" fontAlgn="base" latinLnBrk="1" hangingPunct="0">
        <a:spcBef>
          <a:spcPct val="0"/>
        </a:spcBef>
        <a:spcAft>
          <a:spcPct val="0"/>
        </a:spcAft>
        <a:buSzPct val="89000"/>
        <a:buChar char="•"/>
        <a:defRPr kumimoji="1" sz="1600" b="1">
          <a:solidFill>
            <a:schemeClr val="tx1"/>
          </a:solidFill>
          <a:latin typeface="+mn-lt"/>
          <a:ea typeface="+mn-ea"/>
        </a:defRPr>
      </a:lvl4pPr>
      <a:lvl5pPr marL="622316" indent="-158754" algn="l" defTabSz="957287" rtl="0" eaLnBrk="0" fontAlgn="base" latinLnBrk="1" hangingPunct="0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5pPr>
      <a:lvl6pPr marL="1079527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6pPr>
      <a:lvl7pPr marL="1536738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7pPr>
      <a:lvl8pPr marL="1993950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8pPr>
      <a:lvl9pPr marL="2451161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9205" y="110534"/>
            <a:ext cx="8222427" cy="3451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5665164" y="6491912"/>
            <a:ext cx="785337" cy="210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ctr" defTabSz="914290" fontAlgn="auto">
              <a:spcBef>
                <a:spcPts val="0"/>
              </a:spcBef>
              <a:spcAft>
                <a:spcPts val="0"/>
              </a:spcAft>
            </a:pPr>
            <a:fld id="{85EA48AA-190A-48EB-A50C-AA4A94C70FB2}" type="slidenum">
              <a:rPr kumimoji="0" lang="ko-KR" altLang="en-US" b="0" smtClean="0">
                <a:solidFill>
                  <a:prstClr val="black">
                    <a:tint val="75000"/>
                  </a:prstClr>
                </a:solidFill>
                <a:latin typeface="Arial Narrow"/>
                <a:ea typeface="LG스마트체 Regular"/>
              </a:rPr>
              <a:pPr algn="ctr" defTabSz="91429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kumimoji="0" lang="ko-KR" altLang="en-US" b="0">
                <a:solidFill>
                  <a:prstClr val="black">
                    <a:tint val="75000"/>
                  </a:prstClr>
                </a:solidFill>
                <a:latin typeface="Arial Narrow"/>
                <a:ea typeface="LG스마트체 Regular"/>
              </a:rPr>
              <a:t> </a:t>
            </a:r>
            <a:r>
              <a:rPr kumimoji="0" lang="en-US" altLang="ko-KR" b="0">
                <a:solidFill>
                  <a:prstClr val="black">
                    <a:tint val="75000"/>
                  </a:prstClr>
                </a:solidFill>
                <a:latin typeface="Arial Narrow"/>
                <a:ea typeface="LG스마트체 Regular"/>
              </a:rPr>
              <a:t>/ N</a:t>
            </a:r>
            <a:endParaRPr kumimoji="0" lang="ko-KR" altLang="en-US" b="0">
              <a:solidFill>
                <a:prstClr val="black">
                  <a:tint val="75000"/>
                </a:prstClr>
              </a:solidFill>
              <a:latin typeface="Arial Narrow"/>
              <a:ea typeface="LG스마트체 Regular"/>
            </a:endParaRPr>
          </a:p>
        </p:txBody>
      </p:sp>
      <p:sp>
        <p:nvSpPr>
          <p:cNvPr id="8" name="Line 14"/>
          <p:cNvSpPr>
            <a:spLocks noChangeShapeType="1"/>
          </p:cNvSpPr>
          <p:nvPr userDrawn="1"/>
        </p:nvSpPr>
        <p:spPr bwMode="auto">
          <a:xfrm>
            <a:off x="0" y="534987"/>
            <a:ext cx="12192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12528" tIns="56263" rIns="112528" bIns="56263"/>
          <a:lstStyle/>
          <a:p>
            <a:pPr defTabSz="1125336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600">
              <a:solidFill>
                <a:srgbClr val="000000"/>
              </a:solidFill>
              <a:latin typeface="Arial Narrow"/>
              <a:ea typeface="LG스마트체 Regular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197135" y="0"/>
            <a:ext cx="1765227" cy="28174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defTabSz="914290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31" b="0">
                <a:solidFill>
                  <a:prstClr val="white">
                    <a:lumMod val="75000"/>
                  </a:prstClr>
                </a:solidFill>
                <a:latin typeface="Arial" charset="0"/>
                <a:ea typeface="LG스마트체 Regular"/>
              </a:rPr>
              <a:t>LGE Internal Use Only</a:t>
            </a:r>
          </a:p>
        </p:txBody>
      </p:sp>
      <p:pic>
        <p:nvPicPr>
          <p:cNvPr id="7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848528" y="6386473"/>
            <a:ext cx="1195721" cy="42175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70453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</p:sldLayoutIdLst>
  <p:txStyles>
    <p:titleStyle>
      <a:lvl1pPr algn="l" defTabSz="1125472" rtl="0" eaLnBrk="1" latinLnBrk="1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125472" rtl="0" eaLnBrk="1" latinLnBrk="1" hangingPunct="1">
        <a:lnSpc>
          <a:spcPct val="90000"/>
        </a:lnSpc>
        <a:spcBef>
          <a:spcPts val="1231"/>
        </a:spcBef>
        <a:buFont typeface="Arial" panose="020B0604020202020204" pitchFamily="34" charset="0"/>
        <a:buNone/>
        <a:defRPr sz="2215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844104" indent="-281368" algn="l" defTabSz="1125472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2pPr>
      <a:lvl3pPr marL="1406839" indent="-281368" algn="l" defTabSz="1125472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3pPr>
      <a:lvl4pPr marL="1969575" indent="-281368" algn="l" defTabSz="1125472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532312" indent="-281368" algn="l" defTabSz="1125472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3095047" indent="-281368" algn="l" defTabSz="1125472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indent="-281368" algn="l" defTabSz="1125472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4220519" indent="-281368" algn="l" defTabSz="1125472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783254" indent="-281368" algn="l" defTabSz="1125472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125472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37" algn="l" defTabSz="1125472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72" algn="l" defTabSz="1125472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207" algn="l" defTabSz="1125472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944" algn="l" defTabSz="1125472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79" algn="l" defTabSz="1125472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415" algn="l" defTabSz="1125472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151" algn="l" defTabSz="1125472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886" algn="l" defTabSz="1125472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317782" y="116632"/>
            <a:ext cx="3065845" cy="3497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none" lIns="87279" tIns="43639" rIns="87279" bIns="43639" numCol="1" anchor="ctr" anchorCtr="0" compatLnSpc="1">
            <a:prstTxWarp prst="textNoShape">
              <a:avLst/>
            </a:prstTxWarp>
            <a:noAutofit/>
          </a:bodyPr>
          <a:lstStyle/>
          <a:p>
            <a:pPr lvl="0" algn="l" defTabSz="709450" rtl="0" eaLnBrk="0" fontAlgn="base" latinLnBrk="1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dirty="0"/>
              <a:t>마스터 제목 스타일 편집</a:t>
            </a:r>
          </a:p>
        </p:txBody>
      </p:sp>
      <p:sp>
        <p:nvSpPr>
          <p:cNvPr id="7" name="Line 7"/>
          <p:cNvSpPr>
            <a:spLocks noChangeShapeType="1"/>
          </p:cNvSpPr>
          <p:nvPr userDrawn="1"/>
        </p:nvSpPr>
        <p:spPr bwMode="auto">
          <a:xfrm>
            <a:off x="2118" y="533400"/>
            <a:ext cx="121898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latinLnBrk="0">
              <a:spcBef>
                <a:spcPct val="50000"/>
              </a:spcBef>
              <a:defRPr/>
            </a:pPr>
            <a:endParaRPr lang="en-US" sz="975" b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959743" y="6627846"/>
            <a:ext cx="272510" cy="15388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latinLnBrk="0">
              <a:buSzPct val="75000"/>
            </a:pPr>
            <a:fld id="{C58E0D77-207D-4EF4-9BC7-8EA72444D06E}" type="slidenum">
              <a:rPr kumimoji="0" lang="ko-KR" altLang="en-US" sz="1000" b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pPr algn="ctr" latinLnBrk="0">
                <a:buSzPct val="75000"/>
              </a:pPr>
              <a:t>‹#›</a:t>
            </a:fld>
            <a:r>
              <a:rPr kumimoji="0" lang="ko-KR" altLang="en-US" sz="1000" b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kumimoji="0" lang="en-US" altLang="ko-KR" sz="1000" b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/ 2</a:t>
            </a:r>
            <a:endParaRPr kumimoji="0" lang="ko-KR" altLang="en-US" sz="1000" b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9" name="Text Box 168"/>
          <p:cNvSpPr txBox="1">
            <a:spLocks noChangeArrowheads="1"/>
          </p:cNvSpPr>
          <p:nvPr userDrawn="1"/>
        </p:nvSpPr>
        <p:spPr bwMode="auto">
          <a:xfrm>
            <a:off x="5285999" y="116632"/>
            <a:ext cx="1620000" cy="288000"/>
          </a:xfrm>
          <a:prstGeom prst="rect">
            <a:avLst/>
          </a:prstGeom>
          <a:noFill/>
          <a:ln w="6350" cmpd="dbl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noAutofit/>
          </a:bodyPr>
          <a:lstStyle/>
          <a:p>
            <a:pPr algn="ctr"/>
            <a:r>
              <a:rPr lang="en-US" altLang="ko-KR" sz="1000" b="0" i="1">
                <a:solidFill>
                  <a:prstClr val="white">
                    <a:lumMod val="6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LGE Internal Use Only</a:t>
            </a:r>
          </a:p>
        </p:txBody>
      </p:sp>
      <p:pic>
        <p:nvPicPr>
          <p:cNvPr id="10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992544" y="6386473"/>
            <a:ext cx="1047946" cy="421758"/>
          </a:xfrm>
          <a:prstGeom prst="rect">
            <a:avLst/>
          </a:prstGeom>
          <a:noFill/>
        </p:spPr>
      </p:pic>
      <p:sp>
        <p:nvSpPr>
          <p:cNvPr id="8" name="텍스트 개체 틀 11"/>
          <p:cNvSpPr>
            <a:spLocks noGrp="1"/>
          </p:cNvSpPr>
          <p:nvPr>
            <p:ph type="body" idx="1"/>
          </p:nvPr>
        </p:nvSpPr>
        <p:spPr>
          <a:xfrm>
            <a:off x="272481" y="980728"/>
            <a:ext cx="9361040" cy="5328592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221853" marR="0" lvl="0" indent="-221853" algn="l" defTabSz="742950" rtl="0" eaLnBrk="1" fontAlgn="auto" latinLnBrk="1" hangingPunct="1">
              <a:lnSpc>
                <a:spcPct val="100000"/>
              </a:lnSpc>
              <a:spcBef>
                <a:spcPts val="975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"/>
              <a:tabLst/>
              <a:defRPr/>
            </a:pP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마스터 텍스트 스타일을 편집합니다</a:t>
            </a:r>
          </a:p>
          <a:p>
            <a:pPr marL="366316" marR="0" lvl="1" indent="-144463" algn="l" defTabSz="742950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ko-KR" altLang="en-US" sz="1138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둘째 수준</a:t>
            </a:r>
          </a:p>
          <a:p>
            <a:pPr marL="510778" marR="0" lvl="2" indent="-144463" algn="l" defTabSz="742950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-"/>
              <a:tabLst/>
              <a:defRPr/>
            </a:pPr>
            <a:r>
              <a:rPr kumimoji="0" lang="ko-KR" altLang="en-US" sz="975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셋째 수준</a:t>
            </a:r>
          </a:p>
          <a:p>
            <a:pPr marL="656531" marR="0" lvl="3" indent="-145753" algn="l" defTabSz="742950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894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넷째 수준</a:t>
            </a:r>
          </a:p>
          <a:p>
            <a:pPr marL="221853" marR="0" lvl="0" indent="-221853" algn="l" defTabSz="742950" rtl="0" eaLnBrk="1" fontAlgn="auto" latinLnBrk="1" hangingPunct="1">
              <a:lnSpc>
                <a:spcPct val="100000"/>
              </a:lnSpc>
              <a:spcBef>
                <a:spcPts val="975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"/>
              <a:tabLst/>
              <a:defRPr/>
            </a:pP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마스터 텍스트 스타일을 편집합니다</a:t>
            </a:r>
          </a:p>
          <a:p>
            <a:pPr marL="366316" marR="0" lvl="1" indent="-144463" algn="l" defTabSz="742950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ko-KR" altLang="en-US" sz="1138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둘째 수준</a:t>
            </a:r>
          </a:p>
          <a:p>
            <a:pPr marL="510778" marR="0" lvl="2" indent="-144463" algn="l" defTabSz="742950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-"/>
              <a:tabLst/>
              <a:defRPr/>
            </a:pPr>
            <a:r>
              <a:rPr kumimoji="0" lang="ko-KR" altLang="en-US" sz="975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셋째 수준</a:t>
            </a:r>
          </a:p>
          <a:p>
            <a:pPr marL="656531" marR="0" lvl="3" indent="-145753" algn="l" defTabSz="742950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894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넷째 수준</a:t>
            </a:r>
          </a:p>
        </p:txBody>
      </p:sp>
    </p:spTree>
    <p:extLst>
      <p:ext uri="{BB962C8B-B14F-4D97-AF65-F5344CB8AC3E}">
        <p14:creationId xmlns:p14="http://schemas.microsoft.com/office/powerpoint/2010/main" val="852884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  <p:sldLayoutId id="2147483923" r:id="rId5"/>
    <p:sldLayoutId id="2147483924" r:id="rId6"/>
    <p:sldLayoutId id="2147483925" r:id="rId7"/>
    <p:sldLayoutId id="2147483982" r:id="rId8"/>
  </p:sldLayoutIdLst>
  <p:hf hdr="0" ftr="0" dt="0"/>
  <p:txStyles>
    <p:titleStyle>
      <a:lvl1pPr algn="l" defTabSz="742987" rtl="0" eaLnBrk="1" latinLnBrk="1" hangingPunct="1">
        <a:spcBef>
          <a:spcPct val="0"/>
        </a:spcBef>
        <a:buNone/>
        <a:defRPr kumimoji="1" lang="ko-KR" altLang="en-US" sz="2000" b="1" kern="1200" dirty="0" smtClean="0">
          <a:solidFill>
            <a:schemeClr val="tx1"/>
          </a:solidFill>
          <a:latin typeface="Arial Narrow" panose="020B0606020202030204" pitchFamily="34" charset="0"/>
          <a:ea typeface="LG스마트체 Regular" panose="020B0600000101010101" pitchFamily="50" charset="-127"/>
          <a:cs typeface="Arial" pitchFamily="34" charset="0"/>
        </a:defRPr>
      </a:lvl1pPr>
    </p:titleStyle>
    <p:bodyStyle>
      <a:lvl1pPr marL="221865" marR="0" indent="-221865" algn="l" defTabSz="742987" rtl="0" eaLnBrk="1" fontAlgn="auto" latinLnBrk="1" hangingPunct="1">
        <a:lnSpc>
          <a:spcPct val="100000"/>
        </a:lnSpc>
        <a:spcBef>
          <a:spcPts val="975"/>
        </a:spcBef>
        <a:spcAft>
          <a:spcPts val="0"/>
        </a:spcAft>
        <a:buClrTx/>
        <a:buSzPct val="100000"/>
        <a:buFont typeface="Wingdings" pitchFamily="2" charset="2"/>
        <a:buChar char=""/>
        <a:tabLst/>
        <a:defRPr sz="1138" kern="1200">
          <a:solidFill>
            <a:schemeClr val="tx1"/>
          </a:solidFill>
          <a:latin typeface="+mj-lt"/>
          <a:ea typeface="LG스마트체 Regular" panose="020B0600000101010101" pitchFamily="50" charset="-127"/>
          <a:cs typeface="+mn-cs"/>
        </a:defRPr>
      </a:lvl1pPr>
      <a:lvl2pPr marL="366334" marR="0" indent="-144469" algn="l" defTabSz="742987" rtl="0" eaLnBrk="1" fontAlgn="auto" latinLnBrk="1" hangingPunct="1">
        <a:lnSpc>
          <a:spcPct val="100000"/>
        </a:lnSpc>
        <a:spcBef>
          <a:spcPct val="20000"/>
        </a:spcBef>
        <a:spcAft>
          <a:spcPts val="0"/>
        </a:spcAft>
        <a:buClrTx/>
        <a:buSzPct val="100000"/>
        <a:buFont typeface="Wingdings" pitchFamily="2" charset="2"/>
        <a:buChar char="§"/>
        <a:tabLst/>
        <a:defRPr sz="975" kern="1200">
          <a:solidFill>
            <a:schemeClr val="tx1"/>
          </a:solidFill>
          <a:latin typeface="+mj-lt"/>
          <a:ea typeface="LG스마트체 Regular" panose="020B0600000101010101" pitchFamily="50" charset="-127"/>
          <a:cs typeface="+mn-cs"/>
        </a:defRPr>
      </a:lvl2pPr>
      <a:lvl3pPr marL="510803" marR="0" indent="-144469" algn="l" defTabSz="742987" rtl="0" eaLnBrk="1" fontAlgn="auto" latinLnBrk="1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itchFamily="34" charset="0"/>
        <a:buChar char="-"/>
        <a:tabLst/>
        <a:defRPr sz="894" kern="1200">
          <a:solidFill>
            <a:schemeClr val="tx1"/>
          </a:solidFill>
          <a:latin typeface="+mj-lt"/>
          <a:ea typeface="LG스마트체 Regular" panose="020B0600000101010101" pitchFamily="50" charset="-127"/>
          <a:cs typeface="+mn-cs"/>
        </a:defRPr>
      </a:lvl3pPr>
      <a:lvl4pPr marL="656563" marR="0" indent="-145761" algn="l" defTabSz="742987" rtl="0" eaLnBrk="1" fontAlgn="auto" latinLnBrk="1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itchFamily="34" charset="0"/>
        <a:buChar char="•"/>
        <a:tabLst/>
        <a:defRPr sz="853" kern="1200">
          <a:solidFill>
            <a:schemeClr val="tx1"/>
          </a:solidFill>
          <a:latin typeface="+mj-lt"/>
          <a:ea typeface="LG스마트체 Regular" panose="020B0600000101010101" pitchFamily="50" charset="-127"/>
          <a:cs typeface="+mn-cs"/>
        </a:defRPr>
      </a:lvl4pPr>
      <a:lvl5pPr marL="1671722" indent="-185747" algn="l" defTabSz="742987" rtl="0" eaLnBrk="1" latinLnBrk="1" hangingPunct="1">
        <a:spcBef>
          <a:spcPct val="20000"/>
        </a:spcBef>
        <a:buFont typeface="Arial" pitchFamily="34" charset="0"/>
        <a:buChar char="»"/>
        <a:defRPr sz="1625" kern="1200">
          <a:solidFill>
            <a:schemeClr val="tx1"/>
          </a:solidFill>
          <a:latin typeface="+mn-lt"/>
          <a:ea typeface="+mn-ea"/>
          <a:cs typeface="+mn-cs"/>
        </a:defRPr>
      </a:lvl5pPr>
      <a:lvl6pPr marL="2043215" indent="-185747" algn="l" defTabSz="742987" rtl="0" eaLnBrk="1" latinLnBrk="1" hangingPunct="1">
        <a:spcBef>
          <a:spcPct val="20000"/>
        </a:spcBef>
        <a:buFont typeface="Arial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6pPr>
      <a:lvl7pPr marL="2414709" indent="-185747" algn="l" defTabSz="742987" rtl="0" eaLnBrk="1" latinLnBrk="1" hangingPunct="1">
        <a:spcBef>
          <a:spcPct val="20000"/>
        </a:spcBef>
        <a:buFont typeface="Arial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7pPr>
      <a:lvl8pPr marL="2786202" indent="-185747" algn="l" defTabSz="742987" rtl="0" eaLnBrk="1" latinLnBrk="1" hangingPunct="1">
        <a:spcBef>
          <a:spcPct val="20000"/>
        </a:spcBef>
        <a:buFont typeface="Arial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8pPr>
      <a:lvl9pPr marL="3157695" indent="-185747" algn="l" defTabSz="742987" rtl="0" eaLnBrk="1" latinLnBrk="1" hangingPunct="1">
        <a:spcBef>
          <a:spcPct val="20000"/>
        </a:spcBef>
        <a:buFont typeface="Arial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42987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95" algn="l" defTabSz="742987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87" algn="l" defTabSz="742987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80" algn="l" defTabSz="742987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75" algn="l" defTabSz="742987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468" algn="l" defTabSz="742987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961" algn="l" defTabSz="742987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455" algn="l" defTabSz="742987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948" algn="l" defTabSz="742987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120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FD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9DB9C2E8-956E-B67F-0D3B-F273C06D00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B81A3F26-257A-22BD-1CCD-1280F9CC71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72CEF2E-8711-1D87-90D1-3B48975368B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C062604C-8EAD-4006-A800-F21047AD1BE8}" type="datetimeFigureOut">
              <a:rPr kumimoji="0" lang="ko-KR" altLang="en-US" b="0" smtClean="0">
                <a:solidFill>
                  <a:prstClr val="black">
                    <a:tint val="75000"/>
                  </a:prstClr>
                </a:solidFill>
                <a:latin typeface="맑은 고딕" panose="020F0502020204030204"/>
                <a:ea typeface="맑은 고딕" panose="020B0503020000020004" pitchFamily="50" charset="-127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3. 9. 4.</a:t>
            </a:fld>
            <a:endParaRPr kumimoji="0" lang="ko-KR" altLang="en-US" b="0">
              <a:solidFill>
                <a:prstClr val="black">
                  <a:tint val="75000"/>
                </a:prstClr>
              </a:solidFill>
              <a:latin typeface="맑은 고딕" panose="020F0502020204030204"/>
              <a:ea typeface="맑은 고딕" panose="020B0503020000020004" pitchFamily="50" charset="-127"/>
            </a:endParaRPr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2388EE93-87A3-22C9-4285-18C8420A4E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b="0">
              <a:solidFill>
                <a:prstClr val="black">
                  <a:tint val="75000"/>
                </a:prstClr>
              </a:solidFill>
              <a:latin typeface="맑은 고딕" panose="020F0502020204030204"/>
              <a:ea typeface="맑은 고딕" panose="020B0503020000020004" pitchFamily="50" charset="-127"/>
            </a:endParaRPr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BD56E68-9C33-E0E0-1797-1824B4DEC2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CAA46E0F-309B-4E1D-9F39-14B9DAA6499E}" type="slidenum">
              <a:rPr kumimoji="0" lang="ko-KR" altLang="en-US" b="0" smtClean="0">
                <a:solidFill>
                  <a:prstClr val="black">
                    <a:tint val="75000"/>
                  </a:prstClr>
                </a:solidFill>
                <a:latin typeface="맑은 고딕" panose="020F0502020204030204"/>
                <a:ea typeface="맑은 고딕" panose="020B0503020000020004" pitchFamily="50" charset="-127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b="0">
              <a:solidFill>
                <a:prstClr val="black">
                  <a:tint val="75000"/>
                </a:prstClr>
              </a:solidFill>
              <a:latin typeface="맑은 고딕" panose="020F0502020204030204"/>
              <a:ea typeface="맑은 고딕" panose="020B0503020000020004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9ED5165D-AD36-A674-9DD4-08496F98D4E2}"/>
              </a:ext>
            </a:extLst>
          </p:cNvPr>
          <p:cNvSpPr/>
          <p:nvPr userDrawn="1"/>
        </p:nvSpPr>
        <p:spPr>
          <a:xfrm>
            <a:off x="334963" y="844062"/>
            <a:ext cx="11522075" cy="5645638"/>
          </a:xfrm>
          <a:prstGeom prst="rect">
            <a:avLst/>
          </a:prstGeom>
          <a:solidFill>
            <a:schemeClr val="bg1"/>
          </a:solidFill>
          <a:ln w="25400">
            <a:solidFill>
              <a:srgbClr val="43351D"/>
            </a:solidFill>
          </a:ln>
          <a:effectLst>
            <a:outerShdw blurRad="203200" dist="38100" dir="5400000" algn="t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2400" b="0">
              <a:solidFill>
                <a:prstClr val="white"/>
              </a:solidFill>
            </a:endParaRPr>
          </a:p>
        </p:txBody>
      </p:sp>
      <p:pic>
        <p:nvPicPr>
          <p:cNvPr id="8" name="그래픽 7">
            <a:extLst>
              <a:ext uri="{FF2B5EF4-FFF2-40B4-BE49-F238E27FC236}">
                <a16:creationId xmlns:a16="http://schemas.microsoft.com/office/drawing/2014/main" id="{870E133F-A9B7-D30C-804E-9953CC50A0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 t="60195"/>
          <a:stretch/>
        </p:blipFill>
        <p:spPr>
          <a:xfrm>
            <a:off x="9789525" y="508977"/>
            <a:ext cx="2067513" cy="213047"/>
          </a:xfrm>
          <a:prstGeom prst="rect">
            <a:avLst/>
          </a:prstGeom>
        </p:spPr>
      </p:pic>
      <p:pic>
        <p:nvPicPr>
          <p:cNvPr id="9" name="그래픽 8">
            <a:extLst>
              <a:ext uri="{FF2B5EF4-FFF2-40B4-BE49-F238E27FC236}">
                <a16:creationId xmlns:a16="http://schemas.microsoft.com/office/drawing/2014/main" id="{200F3235-4B93-9EB7-BB5C-2FB9969888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 r="24398" b="42212"/>
          <a:stretch/>
        </p:blipFill>
        <p:spPr>
          <a:xfrm>
            <a:off x="10366530" y="198038"/>
            <a:ext cx="1563078" cy="309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562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8" r:id="rId2"/>
    <p:sldLayoutId id="2147483929" r:id="rId3"/>
    <p:sldLayoutId id="2147483930" r:id="rId4"/>
    <p:sldLayoutId id="2147483931" r:id="rId5"/>
    <p:sldLayoutId id="2147483932" r:id="rId6"/>
    <p:sldLayoutId id="2147483933" r:id="rId7"/>
    <p:sldLayoutId id="2147483934" r:id="rId8"/>
    <p:sldLayoutId id="2147483935" r:id="rId9"/>
    <p:sldLayoutId id="2147483936" r:id="rId10"/>
    <p:sldLayoutId id="2147483937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4"/>
          </p:nvPr>
        </p:nvSpPr>
        <p:spPr>
          <a:xfrm>
            <a:off x="8610601" y="635636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CA5473-605B-4F12-9061-0D3843BF4300}" type="slidenum">
              <a:rPr lang="ko-KR" altLang="en-US" b="0" smtClean="0">
                <a:solidFill>
                  <a:srgbClr val="000000">
                    <a:tint val="75000"/>
                  </a:srgbClr>
                </a:solidFill>
                <a:latin typeface="굴림" pitchFamily="50" charset="-127"/>
                <a:ea typeface="굴림" pitchFamily="50" charset="-127"/>
              </a:rPr>
              <a:pPr/>
              <a:t>‹#›</a:t>
            </a:fld>
            <a:endParaRPr lang="ko-KR" altLang="en-US" b="0" dirty="0">
              <a:solidFill>
                <a:srgbClr val="000000">
                  <a:tint val="75000"/>
                </a:srgbClr>
              </a:solidFill>
              <a:latin typeface="굴림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30031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</p:sldLayoutIdLst>
  <p:hf hdr="0" ftr="0" dt="0"/>
  <p:txStyles>
    <p:titleStyle>
      <a:lvl1pPr algn="ctr" rtl="0" eaLnBrk="1" fontAlgn="base" latinLnBrk="1" hangingPunct="1">
        <a:spcBef>
          <a:spcPct val="0"/>
        </a:spcBef>
        <a:spcAft>
          <a:spcPct val="0"/>
        </a:spcAft>
        <a:defRPr kumimoji="1" sz="3576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latinLnBrk="1" hangingPunct="1">
        <a:spcBef>
          <a:spcPct val="0"/>
        </a:spcBef>
        <a:spcAft>
          <a:spcPct val="0"/>
        </a:spcAft>
        <a:defRPr kumimoji="1" sz="3576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1" fontAlgn="base" latinLnBrk="1" hangingPunct="1">
        <a:spcBef>
          <a:spcPct val="0"/>
        </a:spcBef>
        <a:spcAft>
          <a:spcPct val="0"/>
        </a:spcAft>
        <a:defRPr kumimoji="1" sz="3576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1" fontAlgn="base" latinLnBrk="1" hangingPunct="1">
        <a:spcBef>
          <a:spcPct val="0"/>
        </a:spcBef>
        <a:spcAft>
          <a:spcPct val="0"/>
        </a:spcAft>
        <a:defRPr kumimoji="1" sz="3576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1" fontAlgn="base" latinLnBrk="1" hangingPunct="1">
        <a:spcBef>
          <a:spcPct val="0"/>
        </a:spcBef>
        <a:spcAft>
          <a:spcPct val="0"/>
        </a:spcAft>
        <a:defRPr kumimoji="1" sz="3576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371476" algn="ctr" rtl="0" eaLnBrk="1" fontAlgn="base" latinLnBrk="1" hangingPunct="1">
        <a:spcBef>
          <a:spcPct val="0"/>
        </a:spcBef>
        <a:spcAft>
          <a:spcPct val="0"/>
        </a:spcAft>
        <a:defRPr kumimoji="1" sz="3576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742950" algn="ctr" rtl="0" eaLnBrk="1" fontAlgn="base" latinLnBrk="1" hangingPunct="1">
        <a:spcBef>
          <a:spcPct val="0"/>
        </a:spcBef>
        <a:spcAft>
          <a:spcPct val="0"/>
        </a:spcAft>
        <a:defRPr kumimoji="1" sz="3576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114425" algn="ctr" rtl="0" eaLnBrk="1" fontAlgn="base" latinLnBrk="1" hangingPunct="1">
        <a:spcBef>
          <a:spcPct val="0"/>
        </a:spcBef>
        <a:spcAft>
          <a:spcPct val="0"/>
        </a:spcAft>
        <a:defRPr kumimoji="1" sz="3576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485901" algn="ctr" rtl="0" eaLnBrk="1" fontAlgn="base" latinLnBrk="1" hangingPunct="1">
        <a:spcBef>
          <a:spcPct val="0"/>
        </a:spcBef>
        <a:spcAft>
          <a:spcPct val="0"/>
        </a:spcAft>
        <a:defRPr kumimoji="1" sz="3576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278605" indent="-278605" algn="l" rtl="0" eaLnBrk="1" fontAlgn="base" latinLnBrk="1" hangingPunct="1">
        <a:spcBef>
          <a:spcPct val="20000"/>
        </a:spcBef>
        <a:spcAft>
          <a:spcPct val="0"/>
        </a:spcAft>
        <a:buChar char="•"/>
        <a:defRPr kumimoji="1" sz="2600">
          <a:solidFill>
            <a:schemeClr val="tx1"/>
          </a:solidFill>
          <a:latin typeface="+mn-lt"/>
          <a:ea typeface="+mn-ea"/>
          <a:cs typeface="+mn-cs"/>
        </a:defRPr>
      </a:lvl1pPr>
      <a:lvl2pPr marL="603649" indent="-232172" algn="l" rtl="0" eaLnBrk="1" fontAlgn="base" latinLnBrk="1" hangingPunct="1">
        <a:spcBef>
          <a:spcPct val="20000"/>
        </a:spcBef>
        <a:spcAft>
          <a:spcPct val="0"/>
        </a:spcAft>
        <a:buChar char="–"/>
        <a:defRPr kumimoji="1" sz="2275">
          <a:solidFill>
            <a:schemeClr val="tx1"/>
          </a:solidFill>
          <a:latin typeface="+mn-lt"/>
          <a:ea typeface="+mn-ea"/>
        </a:defRPr>
      </a:lvl2pPr>
      <a:lvl3pPr marL="928686" indent="-185738" algn="l" rtl="0" eaLnBrk="1" fontAlgn="base" latinLnBrk="1" hangingPunct="1">
        <a:spcBef>
          <a:spcPct val="20000"/>
        </a:spcBef>
        <a:spcAft>
          <a:spcPct val="0"/>
        </a:spcAft>
        <a:buChar char="•"/>
        <a:defRPr kumimoji="1" sz="1950">
          <a:solidFill>
            <a:schemeClr val="tx1"/>
          </a:solidFill>
          <a:latin typeface="+mn-lt"/>
          <a:ea typeface="+mn-ea"/>
        </a:defRPr>
      </a:lvl3pPr>
      <a:lvl4pPr marL="1300163" indent="-185738" algn="l" rtl="0" eaLnBrk="1" fontAlgn="base" latinLnBrk="1" hangingPunct="1">
        <a:spcBef>
          <a:spcPct val="20000"/>
        </a:spcBef>
        <a:spcAft>
          <a:spcPct val="0"/>
        </a:spcAft>
        <a:buChar char="–"/>
        <a:defRPr kumimoji="1" sz="1625">
          <a:solidFill>
            <a:schemeClr val="tx1"/>
          </a:solidFill>
          <a:latin typeface="+mn-lt"/>
          <a:ea typeface="+mn-ea"/>
        </a:defRPr>
      </a:lvl4pPr>
      <a:lvl5pPr marL="1671638" indent="-185738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5pPr>
      <a:lvl6pPr marL="2043113" indent="-185738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6pPr>
      <a:lvl7pPr marL="2414588" indent="-185738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7pPr>
      <a:lvl8pPr marL="2786063" indent="-185738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8pPr>
      <a:lvl9pPr marL="3157538" indent="-185738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6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1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2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799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5176502" y="125610"/>
            <a:ext cx="1811643" cy="27696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05" tIns="45703" rIns="91405" bIns="45703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altLang="ko-KR" sz="1200" dirty="0">
                <a:solidFill>
                  <a:srgbClr val="FFFF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LGE Internal Use Only</a:t>
            </a:r>
            <a:endParaRPr lang="ko-KR" altLang="en-US" sz="1200" dirty="0">
              <a:solidFill>
                <a:srgbClr val="FFFF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012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8" r:id="rId2"/>
  </p:sldLayoutIdLst>
  <p:hf hdr="0" dt="0"/>
  <p:txStyles>
    <p:titleStyle>
      <a:lvl1pPr algn="l" defTabSz="122237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22237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l" defTabSz="122237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l" defTabSz="122237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l" defTabSz="122237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342082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684163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026243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368325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39725" indent="-339725" algn="l" defTabSz="1222375" rtl="0" eaLnBrk="0" fontAlgn="base" latinLnBrk="1" hangingPunct="0">
        <a:spcBef>
          <a:spcPct val="20000"/>
        </a:spcBef>
        <a:spcAft>
          <a:spcPct val="0"/>
        </a:spcAft>
        <a:defRPr kumimoji="1" sz="1600">
          <a:solidFill>
            <a:schemeClr val="tx1"/>
          </a:solidFill>
          <a:latin typeface="+mn-lt"/>
          <a:ea typeface="+mn-ea"/>
          <a:cs typeface="+mn-cs"/>
        </a:defRPr>
      </a:lvl1pPr>
      <a:lvl2pPr marL="739775" indent="-280988" algn="l" defTabSz="1222375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600">
          <a:solidFill>
            <a:schemeClr val="tx1"/>
          </a:solidFill>
          <a:latin typeface="+mn-lt"/>
          <a:ea typeface="+mn-ea"/>
        </a:defRPr>
      </a:lvl2pPr>
      <a:lvl3pPr marL="1139825" indent="-225425" algn="l" defTabSz="1222375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600">
          <a:solidFill>
            <a:schemeClr val="tx1"/>
          </a:solidFill>
          <a:latin typeface="+mn-lt"/>
          <a:ea typeface="+mn-ea"/>
        </a:defRPr>
      </a:lvl3pPr>
      <a:lvl4pPr marL="1597025" indent="-227013" algn="l" defTabSz="1222375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600">
          <a:solidFill>
            <a:schemeClr val="tx1"/>
          </a:solidFill>
          <a:latin typeface="+mn-lt"/>
          <a:ea typeface="+mn-ea"/>
        </a:defRPr>
      </a:lvl4pPr>
      <a:lvl5pPr marL="2052638" indent="-223838" algn="l" defTabSz="1222375" rtl="0" eaLnBrk="0" fontAlgn="base" latinLnBrk="1" hangingPunct="0">
        <a:spcBef>
          <a:spcPct val="20000"/>
        </a:spcBef>
        <a:spcAft>
          <a:spcPct val="0"/>
        </a:spcAft>
        <a:buChar char="»"/>
        <a:defRPr kumimoji="1" sz="1600">
          <a:solidFill>
            <a:schemeClr val="tx1"/>
          </a:solidFill>
          <a:latin typeface="+mn-lt"/>
          <a:ea typeface="+mn-ea"/>
        </a:defRPr>
      </a:lvl5pPr>
      <a:lvl6pPr marL="1881446" indent="-171040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6pPr>
      <a:lvl7pPr marL="2223528" indent="-171040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7pPr>
      <a:lvl8pPr marL="2565609" indent="-171040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8pPr>
      <a:lvl9pPr marL="2907690" indent="-171040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082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163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6243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8325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0406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2487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4568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6649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12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23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34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46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8" indent="-342908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69" indent="-285757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8692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</p:sldLayoutIdLst>
  <p:hf hdr="0" dt="0"/>
  <p:txStyles>
    <p:titleStyle>
      <a:lvl1pPr algn="l" defTabSz="1128374" rtl="0" eaLnBrk="0" fontAlgn="base" latinLnBrk="1" hangingPunct="0">
        <a:spcBef>
          <a:spcPct val="0"/>
        </a:spcBef>
        <a:spcAft>
          <a:spcPct val="0"/>
        </a:spcAft>
        <a:defRPr kumimoji="1" sz="1846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128374" rtl="0" eaLnBrk="0" fontAlgn="base" latinLnBrk="1" hangingPunct="0">
        <a:spcBef>
          <a:spcPct val="0"/>
        </a:spcBef>
        <a:spcAft>
          <a:spcPct val="0"/>
        </a:spcAft>
        <a:defRPr kumimoji="1" sz="1846" b="1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l" defTabSz="1128374" rtl="0" eaLnBrk="0" fontAlgn="base" latinLnBrk="1" hangingPunct="0">
        <a:spcBef>
          <a:spcPct val="0"/>
        </a:spcBef>
        <a:spcAft>
          <a:spcPct val="0"/>
        </a:spcAft>
        <a:defRPr kumimoji="1" sz="1846" b="1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l" defTabSz="1128374" rtl="0" eaLnBrk="0" fontAlgn="base" latinLnBrk="1" hangingPunct="0">
        <a:spcBef>
          <a:spcPct val="0"/>
        </a:spcBef>
        <a:spcAft>
          <a:spcPct val="0"/>
        </a:spcAft>
        <a:defRPr kumimoji="1" sz="1846" b="1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l" defTabSz="1128374" rtl="0" eaLnBrk="0" fontAlgn="base" latinLnBrk="1" hangingPunct="0">
        <a:spcBef>
          <a:spcPct val="0"/>
        </a:spcBef>
        <a:spcAft>
          <a:spcPct val="0"/>
        </a:spcAft>
        <a:defRPr kumimoji="1" sz="1846" b="1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315776" algn="l" rtl="0" fontAlgn="base" latinLnBrk="1">
        <a:spcBef>
          <a:spcPct val="0"/>
        </a:spcBef>
        <a:spcAft>
          <a:spcPct val="0"/>
        </a:spcAft>
        <a:defRPr kumimoji="1" sz="1385" b="1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631551" algn="l" rtl="0" fontAlgn="base" latinLnBrk="1">
        <a:spcBef>
          <a:spcPct val="0"/>
        </a:spcBef>
        <a:spcAft>
          <a:spcPct val="0"/>
        </a:spcAft>
        <a:defRPr kumimoji="1" sz="1385" b="1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947325" algn="l" rtl="0" fontAlgn="base" latinLnBrk="1">
        <a:spcBef>
          <a:spcPct val="0"/>
        </a:spcBef>
        <a:spcAft>
          <a:spcPct val="0"/>
        </a:spcAft>
        <a:defRPr kumimoji="1" sz="1385" b="1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263101" algn="l" rtl="0" fontAlgn="base" latinLnBrk="1">
        <a:spcBef>
          <a:spcPct val="0"/>
        </a:spcBef>
        <a:spcAft>
          <a:spcPct val="0"/>
        </a:spcAft>
        <a:defRPr kumimoji="1" sz="1385" b="1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13600" indent="-313600" algn="l" defTabSz="1128374" rtl="0" eaLnBrk="0" fontAlgn="base" latinLnBrk="1" hangingPunct="0">
        <a:spcBef>
          <a:spcPct val="20000"/>
        </a:spcBef>
        <a:spcAft>
          <a:spcPct val="0"/>
        </a:spcAft>
        <a:defRPr kumimoji="1" sz="1477">
          <a:solidFill>
            <a:schemeClr val="tx1"/>
          </a:solidFill>
          <a:latin typeface="+mn-lt"/>
          <a:ea typeface="+mn-ea"/>
          <a:cs typeface="+mn-cs"/>
        </a:defRPr>
      </a:lvl1pPr>
      <a:lvl2pPr marL="682886" indent="-259380" algn="l" defTabSz="1128374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477">
          <a:solidFill>
            <a:schemeClr val="tx1"/>
          </a:solidFill>
          <a:latin typeface="+mn-lt"/>
          <a:ea typeface="+mn-ea"/>
        </a:defRPr>
      </a:lvl2pPr>
      <a:lvl3pPr marL="1052172" indent="-208090" algn="l" defTabSz="1128374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477">
          <a:solidFill>
            <a:schemeClr val="tx1"/>
          </a:solidFill>
          <a:latin typeface="+mn-lt"/>
          <a:ea typeface="+mn-ea"/>
        </a:defRPr>
      </a:lvl3pPr>
      <a:lvl4pPr marL="1474214" indent="-209556" algn="l" defTabSz="1128374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477">
          <a:solidFill>
            <a:schemeClr val="tx1"/>
          </a:solidFill>
          <a:latin typeface="+mn-lt"/>
          <a:ea typeface="+mn-ea"/>
        </a:defRPr>
      </a:lvl4pPr>
      <a:lvl5pPr marL="1894790" indent="-206625" algn="l" defTabSz="1128374" rtl="0" eaLnBrk="0" fontAlgn="base" latinLnBrk="1" hangingPunct="0">
        <a:spcBef>
          <a:spcPct val="20000"/>
        </a:spcBef>
        <a:spcAft>
          <a:spcPct val="0"/>
        </a:spcAft>
        <a:buChar char="»"/>
        <a:defRPr kumimoji="1" sz="1477">
          <a:solidFill>
            <a:schemeClr val="tx1"/>
          </a:solidFill>
          <a:latin typeface="+mn-lt"/>
          <a:ea typeface="+mn-ea"/>
        </a:defRPr>
      </a:lvl5pPr>
      <a:lvl6pPr marL="1736763" indent="-157887" algn="l" rtl="0" fontAlgn="base" latinLnBrk="1">
        <a:spcBef>
          <a:spcPct val="20000"/>
        </a:spcBef>
        <a:spcAft>
          <a:spcPct val="0"/>
        </a:spcAft>
        <a:buChar char="»"/>
        <a:defRPr kumimoji="1" sz="1108">
          <a:solidFill>
            <a:schemeClr val="tx1"/>
          </a:solidFill>
          <a:latin typeface="+mn-lt"/>
          <a:ea typeface="+mn-ea"/>
        </a:defRPr>
      </a:lvl6pPr>
      <a:lvl7pPr marL="2052539" indent="-157887" algn="l" rtl="0" fontAlgn="base" latinLnBrk="1">
        <a:spcBef>
          <a:spcPct val="20000"/>
        </a:spcBef>
        <a:spcAft>
          <a:spcPct val="0"/>
        </a:spcAft>
        <a:buChar char="»"/>
        <a:defRPr kumimoji="1" sz="1108">
          <a:solidFill>
            <a:schemeClr val="tx1"/>
          </a:solidFill>
          <a:latin typeface="+mn-lt"/>
          <a:ea typeface="+mn-ea"/>
        </a:defRPr>
      </a:lvl7pPr>
      <a:lvl8pPr marL="2368314" indent="-157887" algn="l" rtl="0" fontAlgn="base" latinLnBrk="1">
        <a:spcBef>
          <a:spcPct val="20000"/>
        </a:spcBef>
        <a:spcAft>
          <a:spcPct val="0"/>
        </a:spcAft>
        <a:buChar char="»"/>
        <a:defRPr kumimoji="1" sz="1108">
          <a:solidFill>
            <a:schemeClr val="tx1"/>
          </a:solidFill>
          <a:latin typeface="+mn-lt"/>
          <a:ea typeface="+mn-ea"/>
        </a:defRPr>
      </a:lvl8pPr>
      <a:lvl9pPr marL="2684089" indent="-157887" algn="l" rtl="0" fontAlgn="base" latinLnBrk="1">
        <a:spcBef>
          <a:spcPct val="20000"/>
        </a:spcBef>
        <a:spcAft>
          <a:spcPct val="0"/>
        </a:spcAft>
        <a:buChar char="»"/>
        <a:defRPr kumimoji="1" sz="1108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631551" rtl="0" eaLnBrk="1" latinLnBrk="1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15776" algn="l" defTabSz="631551" rtl="0" eaLnBrk="1" latinLnBrk="1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31551" algn="l" defTabSz="631551" rtl="0" eaLnBrk="1" latinLnBrk="1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47325" algn="l" defTabSz="631551" rtl="0" eaLnBrk="1" latinLnBrk="1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63101" algn="l" defTabSz="631551" rtl="0" eaLnBrk="1" latinLnBrk="1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78876" algn="l" defTabSz="631551" rtl="0" eaLnBrk="1" latinLnBrk="1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94651" algn="l" defTabSz="631551" rtl="0" eaLnBrk="1" latinLnBrk="1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10426" algn="l" defTabSz="631551" rtl="0" eaLnBrk="1" latinLnBrk="1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26201" algn="l" defTabSz="631551" rtl="0" eaLnBrk="1" latinLnBrk="1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5176502" y="125610"/>
            <a:ext cx="1811643" cy="27696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05" tIns="45703" rIns="91405" bIns="45703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altLang="ko-KR" sz="1200" dirty="0">
                <a:solidFill>
                  <a:srgbClr val="FFFF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LGE Internal Use Only</a:t>
            </a:r>
            <a:endParaRPr lang="ko-KR" altLang="en-US" sz="1200" dirty="0">
              <a:solidFill>
                <a:srgbClr val="FFFF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4598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</p:sldLayoutIdLst>
  <p:hf hdr="0" dt="0"/>
  <p:txStyles>
    <p:titleStyle>
      <a:lvl1pPr algn="l" defTabSz="122237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22237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l" defTabSz="122237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l" defTabSz="122237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l" defTabSz="122237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342082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684163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026243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368325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39725" indent="-339725" algn="l" defTabSz="1222375" rtl="0" eaLnBrk="0" fontAlgn="base" latinLnBrk="1" hangingPunct="0">
        <a:spcBef>
          <a:spcPct val="20000"/>
        </a:spcBef>
        <a:spcAft>
          <a:spcPct val="0"/>
        </a:spcAft>
        <a:defRPr kumimoji="1" sz="1600">
          <a:solidFill>
            <a:schemeClr val="tx1"/>
          </a:solidFill>
          <a:latin typeface="+mn-lt"/>
          <a:ea typeface="+mn-ea"/>
          <a:cs typeface="+mn-cs"/>
        </a:defRPr>
      </a:lvl1pPr>
      <a:lvl2pPr marL="739775" indent="-280988" algn="l" defTabSz="1222375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600">
          <a:solidFill>
            <a:schemeClr val="tx1"/>
          </a:solidFill>
          <a:latin typeface="+mn-lt"/>
          <a:ea typeface="+mn-ea"/>
        </a:defRPr>
      </a:lvl2pPr>
      <a:lvl3pPr marL="1139825" indent="-225425" algn="l" defTabSz="1222375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600">
          <a:solidFill>
            <a:schemeClr val="tx1"/>
          </a:solidFill>
          <a:latin typeface="+mn-lt"/>
          <a:ea typeface="+mn-ea"/>
        </a:defRPr>
      </a:lvl3pPr>
      <a:lvl4pPr marL="1597025" indent="-227013" algn="l" defTabSz="1222375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600">
          <a:solidFill>
            <a:schemeClr val="tx1"/>
          </a:solidFill>
          <a:latin typeface="+mn-lt"/>
          <a:ea typeface="+mn-ea"/>
        </a:defRPr>
      </a:lvl4pPr>
      <a:lvl5pPr marL="2052638" indent="-223838" algn="l" defTabSz="1222375" rtl="0" eaLnBrk="0" fontAlgn="base" latinLnBrk="1" hangingPunct="0">
        <a:spcBef>
          <a:spcPct val="20000"/>
        </a:spcBef>
        <a:spcAft>
          <a:spcPct val="0"/>
        </a:spcAft>
        <a:buChar char="»"/>
        <a:defRPr kumimoji="1" sz="1600">
          <a:solidFill>
            <a:schemeClr val="tx1"/>
          </a:solidFill>
          <a:latin typeface="+mn-lt"/>
          <a:ea typeface="+mn-ea"/>
        </a:defRPr>
      </a:lvl5pPr>
      <a:lvl6pPr marL="1881446" indent="-171040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6pPr>
      <a:lvl7pPr marL="2223528" indent="-171040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7pPr>
      <a:lvl8pPr marL="2565609" indent="-171040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8pPr>
      <a:lvl9pPr marL="2907690" indent="-171040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082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163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6243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8325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0406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2487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4568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6649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5176503" y="125612"/>
            <a:ext cx="1811643" cy="27696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05" tIns="45703" rIns="91405" bIns="45703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altLang="ko-KR" sz="1200">
                <a:solidFill>
                  <a:srgbClr val="FFFF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LGE Internal Use Only</a:t>
            </a:r>
            <a:endParaRPr lang="ko-KR" altLang="en-US" sz="1200">
              <a:solidFill>
                <a:srgbClr val="FFFF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Line 39"/>
          <p:cNvSpPr>
            <a:spLocks noChangeShapeType="1"/>
          </p:cNvSpPr>
          <p:nvPr userDrawn="1"/>
        </p:nvSpPr>
        <p:spPr bwMode="auto">
          <a:xfrm>
            <a:off x="0" y="548680"/>
            <a:ext cx="12192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91369" tIns="45687" rIns="91369" bIns="45687"/>
          <a:lstStyle/>
          <a:p>
            <a:pPr>
              <a:defRPr/>
            </a:pPr>
            <a:endParaRPr lang="ko-KR" altLang="en-US" sz="2000"/>
          </a:p>
        </p:txBody>
      </p:sp>
    </p:spTree>
    <p:extLst>
      <p:ext uri="{BB962C8B-B14F-4D97-AF65-F5344CB8AC3E}">
        <p14:creationId xmlns:p14="http://schemas.microsoft.com/office/powerpoint/2010/main" val="1582595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</p:sldLayoutIdLst>
  <p:hf hdr="0" dt="0"/>
  <p:txStyles>
    <p:titleStyle>
      <a:lvl1pPr algn="l" defTabSz="122240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22240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l" defTabSz="122240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l" defTabSz="122240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l" defTabSz="122240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342091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684180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026269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368359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39734" indent="-339734" algn="l" defTabSz="1222405" rtl="0" eaLnBrk="0" fontAlgn="base" latinLnBrk="1" hangingPunct="0">
        <a:spcBef>
          <a:spcPct val="20000"/>
        </a:spcBef>
        <a:spcAft>
          <a:spcPct val="0"/>
        </a:spcAft>
        <a:defRPr kumimoji="1" sz="1600">
          <a:solidFill>
            <a:schemeClr val="tx1"/>
          </a:solidFill>
          <a:latin typeface="+mn-lt"/>
          <a:ea typeface="+mn-ea"/>
          <a:cs typeface="+mn-cs"/>
        </a:defRPr>
      </a:lvl1pPr>
      <a:lvl2pPr marL="739793" indent="-280995" algn="l" defTabSz="1222405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600">
          <a:solidFill>
            <a:schemeClr val="tx1"/>
          </a:solidFill>
          <a:latin typeface="+mn-lt"/>
          <a:ea typeface="+mn-ea"/>
        </a:defRPr>
      </a:lvl2pPr>
      <a:lvl3pPr marL="1139854" indent="-225431" algn="l" defTabSz="1222405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600">
          <a:solidFill>
            <a:schemeClr val="tx1"/>
          </a:solidFill>
          <a:latin typeface="+mn-lt"/>
          <a:ea typeface="+mn-ea"/>
        </a:defRPr>
      </a:lvl3pPr>
      <a:lvl4pPr marL="1597065" indent="-227019" algn="l" defTabSz="1222405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600">
          <a:solidFill>
            <a:schemeClr val="tx1"/>
          </a:solidFill>
          <a:latin typeface="+mn-lt"/>
          <a:ea typeface="+mn-ea"/>
        </a:defRPr>
      </a:lvl4pPr>
      <a:lvl5pPr marL="2052689" indent="-223844" algn="l" defTabSz="1222405" rtl="0" eaLnBrk="0" fontAlgn="base" latinLnBrk="1" hangingPunct="0">
        <a:spcBef>
          <a:spcPct val="20000"/>
        </a:spcBef>
        <a:spcAft>
          <a:spcPct val="0"/>
        </a:spcAft>
        <a:buChar char="»"/>
        <a:defRPr kumimoji="1" sz="1600">
          <a:solidFill>
            <a:schemeClr val="tx1"/>
          </a:solidFill>
          <a:latin typeface="+mn-lt"/>
          <a:ea typeface="+mn-ea"/>
        </a:defRPr>
      </a:lvl5pPr>
      <a:lvl6pPr marL="1881493" indent="-171044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6pPr>
      <a:lvl7pPr marL="2223583" indent="-171044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7pPr>
      <a:lvl8pPr marL="2565674" indent="-171044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8pPr>
      <a:lvl9pPr marL="2907763" indent="-171044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091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180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6269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8359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0449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2538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4628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6718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4"/>
          <p:cNvSpPr>
            <a:spLocks noChangeShapeType="1"/>
          </p:cNvSpPr>
          <p:nvPr/>
        </p:nvSpPr>
        <p:spPr bwMode="auto">
          <a:xfrm>
            <a:off x="0" y="534987"/>
            <a:ext cx="12192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4" rIns="91429" bIns="45714"/>
          <a:lstStyle/>
          <a:p>
            <a:pPr defTabSz="914313"/>
            <a:endParaRPr lang="ko-KR" altLang="en-US" sz="130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5113307" y="134810"/>
            <a:ext cx="1957570" cy="285566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300" b="0">
                <a:solidFill>
                  <a:srgbClr val="000000">
                    <a:lumMod val="65000"/>
                    <a:lumOff val="35000"/>
                  </a:srgbClr>
                </a:solidFill>
                <a:latin typeface="Arial Narrow" pitchFamily="34" charset="0"/>
              </a:rPr>
              <a:t>LGE Internal Use Only</a:t>
            </a:r>
            <a:endParaRPr kumimoji="0" lang="ko-KR" altLang="en-US" sz="1300" b="0">
              <a:solidFill>
                <a:srgbClr val="000000">
                  <a:lumMod val="65000"/>
                  <a:lumOff val="35000"/>
                </a:srgb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9799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12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23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34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46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36559" indent="-336559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38207" indent="-279407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36679" indent="-223844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592303" indent="-222255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49514" indent="-223844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06726" indent="-223844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63937" indent="-223844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1148" indent="-223844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78360" indent="-223844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39"/>
          <p:cNvSpPr>
            <a:spLocks noChangeShapeType="1"/>
          </p:cNvSpPr>
          <p:nvPr userDrawn="1"/>
        </p:nvSpPr>
        <p:spPr bwMode="auto">
          <a:xfrm>
            <a:off x="0" y="587375"/>
            <a:ext cx="12192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91369" tIns="45687" rIns="91369" bIns="45687"/>
          <a:lstStyle/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5205042" y="180980"/>
            <a:ext cx="1447810" cy="276987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29" tIns="45714" rIns="91429" bIns="45714">
            <a:spAutoFit/>
          </a:bodyPr>
          <a:lstStyle/>
          <a:p>
            <a:pPr>
              <a:defRPr/>
            </a:pPr>
            <a:r>
              <a:rPr lang="en-US" altLang="ko-KR" sz="1200" b="0">
                <a:solidFill>
                  <a:prstClr val="white">
                    <a:lumMod val="75000"/>
                  </a:prstClr>
                </a:solidFill>
                <a:latin typeface="Arial Narrow" pitchFamily="34" charset="0"/>
                <a:cs typeface="Arial" pitchFamily="34" charset="0"/>
              </a:rPr>
              <a:t>LGE Internal Use Only</a:t>
            </a:r>
            <a:endParaRPr lang="ko-KR" altLang="en-US" sz="1200" b="0">
              <a:solidFill>
                <a:prstClr val="white">
                  <a:lumMod val="75000"/>
                </a:prstClr>
              </a:solidFill>
              <a:latin typeface="Arial Narrow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938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12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23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34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46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8" indent="-342908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69" indent="-285757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39"/>
          <p:cNvSpPr>
            <a:spLocks noChangeShapeType="1"/>
          </p:cNvSpPr>
          <p:nvPr userDrawn="1"/>
        </p:nvSpPr>
        <p:spPr bwMode="auto">
          <a:xfrm>
            <a:off x="0" y="587375"/>
            <a:ext cx="12192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91369" tIns="45687" rIns="91369" bIns="45687"/>
          <a:lstStyle/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5205042" y="180980"/>
            <a:ext cx="1447810" cy="276987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29" tIns="45714" rIns="91429" bIns="45714">
            <a:spAutoFit/>
          </a:bodyPr>
          <a:lstStyle/>
          <a:p>
            <a:pPr>
              <a:defRPr/>
            </a:pPr>
            <a:r>
              <a:rPr lang="en-US" altLang="ko-KR" sz="1200" b="0">
                <a:solidFill>
                  <a:prstClr val="white">
                    <a:lumMod val="75000"/>
                  </a:prstClr>
                </a:solidFill>
                <a:latin typeface="Arial Narrow" pitchFamily="34" charset="0"/>
                <a:cs typeface="Arial" pitchFamily="34" charset="0"/>
              </a:rPr>
              <a:t>LGE Internal Use Only</a:t>
            </a:r>
            <a:endParaRPr lang="ko-KR" altLang="en-US" sz="1200" b="0">
              <a:solidFill>
                <a:prstClr val="white">
                  <a:lumMod val="75000"/>
                </a:prstClr>
              </a:solidFill>
              <a:latin typeface="Arial Narrow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6067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12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23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34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46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8" indent="-342908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69" indent="-285757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39"/>
          <p:cNvSpPr>
            <a:spLocks noChangeShapeType="1"/>
          </p:cNvSpPr>
          <p:nvPr userDrawn="1"/>
        </p:nvSpPr>
        <p:spPr bwMode="auto">
          <a:xfrm>
            <a:off x="0" y="587375"/>
            <a:ext cx="12192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91369" tIns="45687" rIns="91369" bIns="45687"/>
          <a:lstStyle/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5205042" y="180980"/>
            <a:ext cx="1447810" cy="276987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29" tIns="45714" rIns="91429" bIns="45714">
            <a:spAutoFit/>
          </a:bodyPr>
          <a:lstStyle/>
          <a:p>
            <a:pPr>
              <a:defRPr/>
            </a:pPr>
            <a:r>
              <a:rPr lang="en-US" altLang="ko-KR" sz="1200" b="0">
                <a:solidFill>
                  <a:prstClr val="white">
                    <a:lumMod val="75000"/>
                  </a:prstClr>
                </a:solidFill>
                <a:latin typeface="Arial Narrow" pitchFamily="34" charset="0"/>
                <a:cs typeface="Arial" pitchFamily="34" charset="0"/>
              </a:rPr>
              <a:t>LGE Internal Use Only</a:t>
            </a:r>
            <a:endParaRPr lang="ko-KR" altLang="en-US" sz="1200" b="0">
              <a:solidFill>
                <a:prstClr val="white">
                  <a:lumMod val="75000"/>
                </a:prstClr>
              </a:solidFill>
              <a:latin typeface="Arial Narrow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6660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12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23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34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46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8" indent="-342908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69" indent="-285757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4"/>
          <p:cNvSpPr>
            <a:spLocks noChangeShapeType="1"/>
          </p:cNvSpPr>
          <p:nvPr/>
        </p:nvSpPr>
        <p:spPr bwMode="auto">
          <a:xfrm>
            <a:off x="0" y="534987"/>
            <a:ext cx="12192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4" rIns="91429" bIns="45714"/>
          <a:lstStyle/>
          <a:p>
            <a:pPr defTabSz="914313"/>
            <a:endParaRPr lang="ko-KR" altLang="en-US" sz="130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5113307" y="134810"/>
            <a:ext cx="1957570" cy="285566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300" b="0">
                <a:solidFill>
                  <a:srgbClr val="000000">
                    <a:lumMod val="65000"/>
                    <a:lumOff val="35000"/>
                  </a:srgbClr>
                </a:solidFill>
                <a:latin typeface="Arial Narrow" pitchFamily="34" charset="0"/>
              </a:rPr>
              <a:t>LGE Internal Use Only</a:t>
            </a:r>
            <a:endParaRPr kumimoji="0" lang="ko-KR" altLang="en-US" sz="1300" b="0">
              <a:solidFill>
                <a:srgbClr val="000000">
                  <a:lumMod val="65000"/>
                  <a:lumOff val="35000"/>
                </a:srgb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0643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12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23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34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46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36559" indent="-336559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38207" indent="-279407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36679" indent="-223844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592303" indent="-222255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49514" indent="-223844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06726" indent="-223844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63937" indent="-223844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1148" indent="-223844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78360" indent="-223844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5046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</p:sldLayoutIdLst>
  <p:hf hdr="0" dt="0"/>
  <p:txStyles>
    <p:titleStyle>
      <a:lvl1pPr algn="l" defTabSz="122240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22240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l" defTabSz="122240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l" defTabSz="122240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l" defTabSz="122240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342091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684180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026269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368359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39734" indent="-339734" algn="l" defTabSz="1222405" rtl="0" eaLnBrk="0" fontAlgn="base" latinLnBrk="1" hangingPunct="0">
        <a:spcBef>
          <a:spcPct val="20000"/>
        </a:spcBef>
        <a:spcAft>
          <a:spcPct val="0"/>
        </a:spcAft>
        <a:defRPr kumimoji="1" sz="1600">
          <a:solidFill>
            <a:schemeClr val="tx1"/>
          </a:solidFill>
          <a:latin typeface="+mn-lt"/>
          <a:ea typeface="+mn-ea"/>
          <a:cs typeface="+mn-cs"/>
        </a:defRPr>
      </a:lvl1pPr>
      <a:lvl2pPr marL="739793" indent="-280995" algn="l" defTabSz="1222405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600">
          <a:solidFill>
            <a:schemeClr val="tx1"/>
          </a:solidFill>
          <a:latin typeface="+mn-lt"/>
          <a:ea typeface="+mn-ea"/>
        </a:defRPr>
      </a:lvl2pPr>
      <a:lvl3pPr marL="1139854" indent="-225431" algn="l" defTabSz="1222405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600">
          <a:solidFill>
            <a:schemeClr val="tx1"/>
          </a:solidFill>
          <a:latin typeface="+mn-lt"/>
          <a:ea typeface="+mn-ea"/>
        </a:defRPr>
      </a:lvl3pPr>
      <a:lvl4pPr marL="1597065" indent="-227019" algn="l" defTabSz="1222405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600">
          <a:solidFill>
            <a:schemeClr val="tx1"/>
          </a:solidFill>
          <a:latin typeface="+mn-lt"/>
          <a:ea typeface="+mn-ea"/>
        </a:defRPr>
      </a:lvl4pPr>
      <a:lvl5pPr marL="2052689" indent="-223844" algn="l" defTabSz="1222405" rtl="0" eaLnBrk="0" fontAlgn="base" latinLnBrk="1" hangingPunct="0">
        <a:spcBef>
          <a:spcPct val="20000"/>
        </a:spcBef>
        <a:spcAft>
          <a:spcPct val="0"/>
        </a:spcAft>
        <a:buChar char="»"/>
        <a:defRPr kumimoji="1" sz="1600">
          <a:solidFill>
            <a:schemeClr val="tx1"/>
          </a:solidFill>
          <a:latin typeface="+mn-lt"/>
          <a:ea typeface="+mn-ea"/>
        </a:defRPr>
      </a:lvl5pPr>
      <a:lvl6pPr marL="1881493" indent="-171044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6pPr>
      <a:lvl7pPr marL="2223583" indent="-171044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7pPr>
      <a:lvl8pPr marL="2565674" indent="-171044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8pPr>
      <a:lvl9pPr marL="2907763" indent="-171044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091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180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6269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8359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0449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2538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4628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6718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" Target="slide37.xml"/><Relationship Id="rId2" Type="http://schemas.openxmlformats.org/officeDocument/2006/relationships/slide" Target="slide35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" Target="slide39.xml"/><Relationship Id="rId2" Type="http://schemas.openxmlformats.org/officeDocument/2006/relationships/slide" Target="slide38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3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8.png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slide" Target="slide41.xml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slide" Target="slide10.xml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slide" Target="slide10.xml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slide" Target="slide12.xml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slide" Target="slide12.xml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" Target="slide34.xml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jpeg"/><Relationship Id="rId4" Type="http://schemas.openxmlformats.org/officeDocument/2006/relationships/image" Target="../media/image17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auto">
          <a:xfrm>
            <a:off x="5470042" y="5307385"/>
            <a:ext cx="125194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230188" indent="-230188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en-US" altLang="ko-KR" sz="14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2023</a:t>
            </a:r>
            <a:r>
              <a:rPr lang="ko-KR" altLang="en-US" sz="14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년 </a:t>
            </a:r>
            <a:r>
              <a:rPr lang="en-US" altLang="ko-KR" sz="14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4</a:t>
            </a:r>
            <a:r>
              <a:rPr lang="ko-KR" altLang="en-US" sz="14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월 </a:t>
            </a:r>
            <a:r>
              <a:rPr lang="en-US" altLang="ko-KR" sz="14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18</a:t>
            </a:r>
            <a:r>
              <a:rPr lang="ko-KR" altLang="en-US" sz="14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일</a:t>
            </a:r>
          </a:p>
        </p:txBody>
      </p:sp>
      <p:sp>
        <p:nvSpPr>
          <p:cNvPr id="3" name="Text Box 4"/>
          <p:cNvSpPr txBox="1">
            <a:spLocks noChangeArrowheads="1"/>
          </p:cNvSpPr>
          <p:nvPr/>
        </p:nvSpPr>
        <p:spPr bwMode="auto">
          <a:xfrm>
            <a:off x="3208632" y="5696327"/>
            <a:ext cx="577478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230188" indent="-230188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9pPr>
          </a:lstStyle>
          <a:p>
            <a:pPr algn="ctr" eaLnBrk="1" hangingPunct="1"/>
            <a:r>
              <a:rPr lang="en-US" altLang="ko-KR" sz="14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TO</a:t>
            </a:r>
            <a:r>
              <a:rPr lang="ko-KR" altLang="en-US" sz="14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부문 </a:t>
            </a:r>
            <a:r>
              <a:rPr lang="en-US" altLang="ko-KR" sz="14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/ </a:t>
            </a:r>
            <a:r>
              <a:rPr lang="en-US" altLang="ko-KR" sz="1400" dirty="0" err="1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W센터</a:t>
            </a:r>
            <a:r>
              <a:rPr lang="en-US" altLang="ko-KR" sz="14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/ SWP(</a:t>
            </a:r>
            <a:r>
              <a:rPr lang="ko-KR" altLang="en-US" sz="14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연</a:t>
            </a:r>
            <a:r>
              <a:rPr lang="en-US" altLang="ko-KR" sz="14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  Automotive Platform Task / </a:t>
            </a:r>
            <a:r>
              <a:rPr lang="ko-KR" altLang="en-US" sz="1400" dirty="0" err="1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박창훈</a:t>
            </a:r>
            <a:r>
              <a:rPr lang="ko-KR" altLang="en-US" sz="14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책임연구원</a:t>
            </a: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blackGray">
          <a:xfrm>
            <a:off x="3436974" y="1505108"/>
            <a:ext cx="531812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ko-KR" sz="24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Architecture for UCM Master</a:t>
            </a:r>
            <a:endParaRPr lang="ko-KR" altLang="en-US" sz="2400" dirty="0">
              <a:solidFill>
                <a:prstClr val="black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" name="Line 6"/>
          <p:cNvSpPr>
            <a:spLocks noChangeShapeType="1"/>
          </p:cNvSpPr>
          <p:nvPr/>
        </p:nvSpPr>
        <p:spPr bwMode="auto">
          <a:xfrm>
            <a:off x="2567608" y="2042242"/>
            <a:ext cx="7128792" cy="0"/>
          </a:xfrm>
          <a:prstGeom prst="line">
            <a:avLst/>
          </a:prstGeom>
          <a:noFill/>
          <a:ln w="31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5" rIns="91429" bIns="45715"/>
          <a:lstStyle/>
          <a:p>
            <a:pPr algn="ctr" eaLnBrk="0" latinLnBrk="0" hangingPunct="0">
              <a:lnSpc>
                <a:spcPct val="150000"/>
              </a:lnSpc>
              <a:defRPr/>
            </a:pPr>
            <a:endParaRPr kumimoji="0" lang="ko-KR" altLang="en-US" sz="1300" b="0" ker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2914" y="219709"/>
            <a:ext cx="1620968" cy="676043"/>
          </a:xfrm>
          <a:prstGeom prst="rect">
            <a:avLst/>
          </a:prstGeom>
        </p:spPr>
      </p:pic>
      <p:pic>
        <p:nvPicPr>
          <p:cNvPr id="7" name="Picture 11" descr="D:\조직문화\로고\LGE_CI_LOGO\누끼 컷\LGE_Logo_3D_Tagline(W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8528" y="6152545"/>
            <a:ext cx="1044905" cy="506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32754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7755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nstraint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Business &amp; Technical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Constraint list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3. Architectural Drivers</a:t>
            </a: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3980662"/>
              </p:ext>
            </p:extLst>
          </p:nvPr>
        </p:nvGraphicFramePr>
        <p:xfrm>
          <a:off x="695400" y="1232756"/>
          <a:ext cx="11017224" cy="51206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4156">
                  <a:extLst>
                    <a:ext uri="{9D8B030D-6E8A-4147-A177-3AD203B41FA5}">
                      <a16:colId xmlns:a16="http://schemas.microsoft.com/office/drawing/2014/main" val="1197659203"/>
                    </a:ext>
                  </a:extLst>
                </a:gridCol>
                <a:gridCol w="6336704">
                  <a:extLst>
                    <a:ext uri="{9D8B030D-6E8A-4147-A177-3AD203B41FA5}">
                      <a16:colId xmlns:a16="http://schemas.microsoft.com/office/drawing/2014/main" val="2602705436"/>
                    </a:ext>
                  </a:extLst>
                </a:gridCol>
                <a:gridCol w="3276364">
                  <a:extLst>
                    <a:ext uri="{9D8B030D-6E8A-4147-A177-3AD203B41FA5}">
                      <a16:colId xmlns:a16="http://schemas.microsoft.com/office/drawing/2014/main" val="1629548476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.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ID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ategor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2402582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BC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OSAR Adaptive Platform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이외의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Updat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고려하지 않는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b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dirty="0">
                          <a:solidFill>
                            <a:srgbClr val="00B050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hlinkClick r:id="rId2" action="ppaction://hlinksldjump"/>
                        </a:rPr>
                        <a:t>Appendix 1. </a:t>
                      </a:r>
                      <a:r>
                        <a:rPr lang="ko-KR" altLang="en-US" sz="1200" dirty="0">
                          <a:solidFill>
                            <a:srgbClr val="00B050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hlinkClick r:id="rId2" action="ppaction://hlinksldjump"/>
                        </a:rPr>
                        <a:t>참고</a:t>
                      </a:r>
                      <a:endParaRPr lang="en-US" sz="1200" dirty="0">
                        <a:solidFill>
                          <a:srgbClr val="00B050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Busines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6971679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BC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roject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설계 및 구현은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~ 23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년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6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월까지 완료해야 한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</a:p>
                    <a:p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타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ndor UCM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연동 시험 일정 고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Busines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0588773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BC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roject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투입 인원은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5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명이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</a:p>
                    <a:p>
                      <a:pPr marL="171450" marR="0" indent="-17145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Architect 0.5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명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  <a:p>
                      <a:pPr marL="171450" marR="0" indent="-17145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Developer 2.5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명</a:t>
                      </a:r>
                    </a:p>
                    <a:p>
                      <a:pPr marL="171450" marR="0" indent="-17145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ester 2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명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B050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hlinkClick r:id="rId3" action="ppaction://hlinksldjump"/>
                        </a:rPr>
                        <a:t>Appendix 3. </a:t>
                      </a:r>
                      <a:r>
                        <a:rPr lang="ko-KR" altLang="en-US" sz="1200" dirty="0">
                          <a:solidFill>
                            <a:srgbClr val="00B050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hlinkClick r:id="rId3" action="ppaction://hlinksldjump"/>
                        </a:rPr>
                        <a:t>참고</a:t>
                      </a:r>
                      <a:endParaRPr lang="en-US" sz="1200" dirty="0">
                        <a:solidFill>
                          <a:srgbClr val="00B050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Busines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877356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C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OSAR Adaptiv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개발 언어인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++14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기반으로 개발한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echnica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9004871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C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LARA build system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규격에 따라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Yocto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v3.1 (Code name: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unfell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)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S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본부 표준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build system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규격에 따라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Make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v3.5</a:t>
                      </a:r>
                    </a:p>
                    <a:p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환경에서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build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될 수 있도록 개발한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echnica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8857693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C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LARA Platform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ransport Protocol LG SOME/IP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최대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65KB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ayload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한 번에 전송한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echnica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08335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C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현재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23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년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2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월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)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타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ndor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에서 구현 중인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ECU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ME/IP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TLS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지원하지 않는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echnica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1607461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C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</a:t>
                      </a: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내 </a:t>
                      </a: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ECU </a:t>
                      </a: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간 데이터 전송 </a:t>
                      </a: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rotocol </a:t>
                      </a: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은 </a:t>
                      </a: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ME/IP </a:t>
                      </a: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사용한다</a:t>
                      </a: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echnica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5632771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C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rypto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기능 사용 시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LARA Platform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에 구현되어 있는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r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::crypto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사용한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echnica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4226714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C7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torag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저장 시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LARA Platform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에 구현되어 있는 </a:t>
                      </a:r>
                      <a:r>
                        <a:rPr lang="en-US" altLang="ko-KR" sz="1200" dirty="0" err="1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ra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::per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사용한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echnica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064330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C8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Log </a:t>
                      </a: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사용 시 </a:t>
                      </a: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LARA Platform </a:t>
                      </a: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에 구현되어 있는 </a:t>
                      </a: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ra::log </a:t>
                      </a:r>
                      <a:r>
                        <a:rPr lang="ko-KR" altLang="en-US" sz="120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사용한다</a:t>
                      </a:r>
                      <a:r>
                        <a:rPr lang="en-US" altLang="ko-KR" sz="120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echnica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69279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24746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54050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High-level Functional Requirement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Related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Document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 * AUTOSAR Requirement : </a:t>
            </a:r>
            <a:r>
              <a:rPr lang="en-US" altLang="ko-KR" sz="1400" dirty="0" err="1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UTOSAR_RS_UpdateAndConfigurationManagement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R22-11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 * Toyota Requirement : otasu40-masterreq-rd000-002-a v4.0 (OTA 4.0)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 * </a:t>
            </a:r>
            <a:r>
              <a:rPr lang="en-US" altLang="ko-KR" sz="1400" dirty="0" err="1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olksWagen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Requirement : UDS-Compliant ECU Programming (Q-LAH 80126 LAH.DUM.906.A v2.7)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3. Architectural Drivers</a:t>
            </a: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9375519"/>
              </p:ext>
            </p:extLst>
          </p:nvPr>
        </p:nvGraphicFramePr>
        <p:xfrm>
          <a:off x="695400" y="1052736"/>
          <a:ext cx="11017224" cy="42062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4156">
                  <a:extLst>
                    <a:ext uri="{9D8B030D-6E8A-4147-A177-3AD203B41FA5}">
                      <a16:colId xmlns:a16="http://schemas.microsoft.com/office/drawing/2014/main" val="1197659203"/>
                    </a:ext>
                  </a:extLst>
                </a:gridCol>
                <a:gridCol w="6336704">
                  <a:extLst>
                    <a:ext uri="{9D8B030D-6E8A-4147-A177-3AD203B41FA5}">
                      <a16:colId xmlns:a16="http://schemas.microsoft.com/office/drawing/2014/main" val="2602705436"/>
                    </a:ext>
                  </a:extLst>
                </a:gridCol>
                <a:gridCol w="3276364">
                  <a:extLst>
                    <a:ext uri="{9D8B030D-6E8A-4147-A177-3AD203B41FA5}">
                      <a16:colId xmlns:a16="http://schemas.microsoft.com/office/drawing/2014/main" val="1629548476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.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ID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urc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2402582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에 설치된 모든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정보를 수집해야 한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OSAR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Adaptive, Toyota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6971679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모든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Update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기록을 수집해야 한다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OSAR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Adaptive, Toyota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0588773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Package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Subordinate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로 분산시켜야 하고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</a:t>
                      </a:r>
                      <a:b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과정을 주관하여 진행해야 한다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OSAR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Adaptive, Toyota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877356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Master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다른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Functional Cluster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와 통신 시 </a:t>
                      </a:r>
                      <a:r>
                        <a:rPr lang="en-US" altLang="ko-KR" sz="1200" baseline="0" dirty="0" err="1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ra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::com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을 사용한다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OSAR Adaptive, </a:t>
                      </a:r>
                      <a:r>
                        <a:rPr lang="en-US" sz="1200" baseline="0" dirty="0" err="1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olksWagen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9004871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과정 전체에 걸쳐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afety Condition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을 확인해야 한다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b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주차 상태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배터리 상태 등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)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OSAR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Adaptive, Toyota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8857693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운전자와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teraction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할 수 있는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terfac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제공하고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</a:t>
                      </a:r>
                      <a:b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필요 시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Software Update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진행에 대한 동의를 구해야 한다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OSAR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Adaptive, Toyota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08335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7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tat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알려줄 수 있는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terface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구성해야 한다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OSAR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Adaptive, Toyota, </a:t>
                      </a:r>
                      <a:r>
                        <a:rPr lang="en-US" sz="1200" baseline="0" dirty="0" err="1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olksWagen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1607461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8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과정을 진행하기 위해 필요한 모든 정보를</a:t>
                      </a:r>
                      <a:b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Package MANIFEST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통해 확인하고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 Update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순서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 Dependency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등을 고려하여</a:t>
                      </a:r>
                      <a:b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전체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계획을 수립하여야 한다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OSAR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Adaptive, Toyota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5632771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부팅 시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itialize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과정을 모두 완료하고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tate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타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Functional Cluster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에 알린다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OSAR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Adaptive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42267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04846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47613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Quality Attribute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AUTOSAR Adaptive </a:t>
            </a:r>
            <a:r>
              <a:rPr lang="en-US" altLang="ko-KR" sz="1400" noProof="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tandard,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Manufacturer Requirement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중 품질 속성 관련 사항 도출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Priorit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는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Business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중요도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Technical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중요도에 따라 점수 부여 후 결정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낮은 번호가 높은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iorit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가짐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 </a:t>
            </a:r>
            <a:r>
              <a:rPr lang="en-US" altLang="ko-KR" sz="14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  <a:sym typeface="Wingdings" panose="05000000000000000000" pitchFamily="2" charset="2"/>
                <a:hlinkClick r:id="rId2" action="ppaction://hlinksldjump"/>
              </a:rPr>
              <a:t>Appendix 4. </a:t>
            </a:r>
            <a:r>
              <a:rPr lang="ko-KR" altLang="en-US" sz="14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  <a:sym typeface="Wingdings" panose="05000000000000000000" pitchFamily="2" charset="2"/>
                <a:hlinkClick r:id="rId2" action="ppaction://hlinksldjump"/>
              </a:rPr>
              <a:t>참고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Quality Attribute Scenario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정량적 지표 설정은 기존 진행한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ject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측정값을 참고하여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현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ject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takeholder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중 하나인 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 Manufacturer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와 협의 하에 결정함</a:t>
            </a:r>
            <a:b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(e.g. Vehicle Software Upd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소요 시간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Upd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중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PU Load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등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b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세부 시나리오 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  <a:hlinkClick r:id="rId3" action="ppaction://hlinksldjump"/>
              </a:rPr>
              <a:t>Appendix 5 &amp; 6.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  <a:hlinkClick r:id="rId3" action="ppaction://hlinksldjump"/>
              </a:rPr>
              <a:t>참고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3. Architectural Drivers</a:t>
            </a: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8439861"/>
              </p:ext>
            </p:extLst>
          </p:nvPr>
        </p:nvGraphicFramePr>
        <p:xfrm>
          <a:off x="695400" y="1520788"/>
          <a:ext cx="11017224" cy="54864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4156">
                  <a:extLst>
                    <a:ext uri="{9D8B030D-6E8A-4147-A177-3AD203B41FA5}">
                      <a16:colId xmlns:a16="http://schemas.microsoft.com/office/drawing/2014/main" val="1197659203"/>
                    </a:ext>
                  </a:extLst>
                </a:gridCol>
                <a:gridCol w="6516724">
                  <a:extLst>
                    <a:ext uri="{9D8B030D-6E8A-4147-A177-3AD203B41FA5}">
                      <a16:colId xmlns:a16="http://schemas.microsoft.com/office/drawing/2014/main" val="2602705436"/>
                    </a:ext>
                  </a:extLst>
                </a:gridCol>
                <a:gridCol w="1458162">
                  <a:extLst>
                    <a:ext uri="{9D8B030D-6E8A-4147-A177-3AD203B41FA5}">
                      <a16:colId xmlns:a16="http://schemas.microsoft.com/office/drawing/2014/main" val="1629548476"/>
                    </a:ext>
                  </a:extLst>
                </a:gridCol>
                <a:gridCol w="819091">
                  <a:extLst>
                    <a:ext uri="{9D8B030D-6E8A-4147-A177-3AD203B41FA5}">
                      <a16:colId xmlns:a16="http://schemas.microsoft.com/office/drawing/2014/main" val="1474848662"/>
                    </a:ext>
                  </a:extLst>
                </a:gridCol>
                <a:gridCol w="819091">
                  <a:extLst>
                    <a:ext uri="{9D8B030D-6E8A-4147-A177-3AD203B41FA5}">
                      <a16:colId xmlns:a16="http://schemas.microsoft.com/office/drawing/2014/main" val="129830481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.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ID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ttribut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rior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Key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QA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2402582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Backend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로부터 수신한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Packag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및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Packag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무결성을 보장해야 한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ecur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O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6971679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악의적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ttacker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정보 유출 시도 시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Driver, Vehicle Identity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포함하는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onfidential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정보가 노출되지 않도록 하기 위하여 해당 정보는 전송 시 보호되어야 한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ecur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0588773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전체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소요 시간은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Package size 1MB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당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5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초를 넘지 않아야 한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</a:p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he total Vehicle Software Update time should not exceed 5 seconds per 1MB of Software Package size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erformanc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O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877356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진행 중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PU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점유율이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30%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초과할 수 없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</a:p>
                    <a:p>
                      <a:r>
                        <a:rPr lang="en-US" sz="120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uring Vehicle Software Update, CPU usage cannot exceed 30%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erformanc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9004871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도중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결함으로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pdat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가 중지되어서는 안된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</a:p>
                    <a:p>
                      <a:b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uring Vehicle Software Update, the update must not be stopped due to a UCM Master defect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vailabil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O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8857693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도중 전원이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Off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되더라도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전원이 다시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On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되면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pdat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재개되어야 한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b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b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Even if the power is turned off during Vehicle Software Update, the update must resume when the power is turned back on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vailabil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7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08335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7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이 새로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stall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된 경우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 UCM Master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compil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없이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과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teraction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할 수 있고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</a:t>
                      </a:r>
                      <a:b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새로운 버전으로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Subordinat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을 업데이트 시킬 수 있어야 한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</a:p>
                    <a:p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f UCM is newly installed, UCM Master must be able to interact with UCM without recompile and update UCM Subordinate to the new version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Extensibil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O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16074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32118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140038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lated Quality Attribute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solidFill>
                <a:schemeClr val="tx1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kumimoji="1" lang="en-US" altLang="ko-K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secase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분석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체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ata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보안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Communication Channel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보안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 VS Confidential Data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보안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1 Architectural Decision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Security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2109797"/>
            <a:ext cx="8784976" cy="4727471"/>
          </a:xfrm>
          <a:prstGeom prst="rect">
            <a:avLst/>
          </a:prstGeom>
        </p:spPr>
      </p:pic>
      <p:graphicFrame>
        <p:nvGraphicFramePr>
          <p:cNvPr id="37" name="표 36"/>
          <p:cNvGraphicFramePr>
            <a:graphicFrameLocks noGrp="1"/>
          </p:cNvGraphicFramePr>
          <p:nvPr/>
        </p:nvGraphicFramePr>
        <p:xfrm>
          <a:off x="695400" y="982721"/>
          <a:ext cx="8784976" cy="4572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4747">
                  <a:extLst>
                    <a:ext uri="{9D8B030D-6E8A-4147-A177-3AD203B41FA5}">
                      <a16:colId xmlns:a16="http://schemas.microsoft.com/office/drawing/2014/main" val="1957302077"/>
                    </a:ext>
                  </a:extLst>
                </a:gridCol>
                <a:gridCol w="7380229">
                  <a:extLst>
                    <a:ext uri="{9D8B030D-6E8A-4147-A177-3AD203B41FA5}">
                      <a16:colId xmlns:a16="http://schemas.microsoft.com/office/drawing/2014/main" val="508759771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악의적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ttacker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정보 유출 시도 시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Driver, Vehicle Identity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포함하는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onfidential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정보가 노출되지 않도록 하기 위하여 해당 정보는 전송 시 보호되어야 한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23991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64412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5709600" cy="4929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안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TLS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적용하여 전체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ata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보안 처리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1 Architectural Decision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Security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4952" y="1052736"/>
            <a:ext cx="4922337" cy="3104962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040" y="1052736"/>
            <a:ext cx="4922337" cy="2903777"/>
          </a:xfrm>
          <a:prstGeom prst="rect">
            <a:avLst/>
          </a:prstGeom>
        </p:spPr>
      </p:pic>
      <p:sp>
        <p:nvSpPr>
          <p:cNvPr id="124" name="텍스트 개체 틀 3"/>
          <p:cNvSpPr txBox="1">
            <a:spLocks/>
          </p:cNvSpPr>
          <p:nvPr/>
        </p:nvSpPr>
        <p:spPr>
          <a:xfrm>
            <a:off x="6148085" y="672117"/>
            <a:ext cx="5709600" cy="5170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안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Confidential Data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한해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ncryption / Decrypt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수행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125" name="Picture 2" descr="체크 표시 클립 아트. 무료 다운로드. | Creazilla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2564" y="672117"/>
            <a:ext cx="289283" cy="289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6" name="텍스트 개체 틀 3"/>
          <p:cNvSpPr txBox="1">
            <a:spLocks/>
          </p:cNvSpPr>
          <p:nvPr/>
        </p:nvSpPr>
        <p:spPr>
          <a:xfrm>
            <a:off x="6456040" y="4445496"/>
            <a:ext cx="5440586" cy="2283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nfidential Data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한해서 </a:t>
            </a:r>
            <a:r>
              <a:rPr lang="en-US" altLang="ko-KR" sz="1400" dirty="0" err="1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ra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:crypto lib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을 이용하여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ncryption / decrypt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수행</a:t>
            </a: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장점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LS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비해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 Software Upd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소요 시간에 영향을 주지 않음</a:t>
            </a: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점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nfidential Data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리스트를 관리해야 하고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송신 시 직접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ncrypt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을 수행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/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수신 시 직접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ecrypt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을 수행해야 함</a:t>
            </a:r>
            <a:endParaRPr lang="en-US" altLang="ko-KR" sz="1400" dirty="0">
              <a:solidFill>
                <a:srgbClr val="FF000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27" name="텍스트 개체 틀 3"/>
          <p:cNvSpPr txBox="1">
            <a:spLocks/>
          </p:cNvSpPr>
          <p:nvPr/>
        </p:nvSpPr>
        <p:spPr>
          <a:xfrm>
            <a:off x="714952" y="4445496"/>
            <a:ext cx="5440586" cy="2283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ata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hannel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LS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적용함으로써 전송되는 모든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ata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대하여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보안 적용</a:t>
            </a: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장점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LS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적용을 위한 개발 리소스 불필요</a:t>
            </a: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점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는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nfidential Data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아님에도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ecure Channel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을 사용함에 따라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 Software Upd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소요시간을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크게 증가시키는 원인이 됨</a:t>
            </a:r>
            <a:endParaRPr lang="en-US" altLang="ko-KR" sz="1400" dirty="0">
              <a:solidFill>
                <a:srgbClr val="FF000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46820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60539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lated Quality Attribute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solidFill>
                <a:schemeClr val="tx1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kumimoji="1" lang="en-US" altLang="ko-K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secase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분석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Package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및 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무결성 확인을 위하여 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이용한 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UTHENTICATION Tag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적용을 비롯한 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ackage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구조 협의 완료 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3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월 초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b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획득 방법에 대한 대안 비교 진행 중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1 Architectural Decision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Security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aphicFrame>
        <p:nvGraphicFramePr>
          <p:cNvPr id="37" name="표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1643347"/>
              </p:ext>
            </p:extLst>
          </p:nvPr>
        </p:nvGraphicFramePr>
        <p:xfrm>
          <a:off x="695400" y="982721"/>
          <a:ext cx="8784976" cy="2743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4747">
                  <a:extLst>
                    <a:ext uri="{9D8B030D-6E8A-4147-A177-3AD203B41FA5}">
                      <a16:colId xmlns:a16="http://schemas.microsoft.com/office/drawing/2014/main" val="1957302077"/>
                    </a:ext>
                  </a:extLst>
                </a:gridCol>
                <a:gridCol w="7380229">
                  <a:extLst>
                    <a:ext uri="{9D8B030D-6E8A-4147-A177-3AD203B41FA5}">
                      <a16:colId xmlns:a16="http://schemas.microsoft.com/office/drawing/2014/main" val="508759771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Backend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로부터 수신한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Packag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및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Packag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무결성을 보장해야 한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98099"/>
                  </a:ext>
                </a:extLst>
              </a:tr>
            </a:tbl>
          </a:graphicData>
        </a:graphic>
      </p:graphicFrame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1839215"/>
            <a:ext cx="9217024" cy="4290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2053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5709600" cy="5170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안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Static Ke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사용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1 Architectural Decision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Security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125" name="Picture 2" descr="체크 표시 클립 아트. 무료 다운로드. | Creazill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9576" y="655441"/>
            <a:ext cx="289283" cy="289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7" name="텍스트 개체 틀 3"/>
          <p:cNvSpPr txBox="1">
            <a:spLocks/>
          </p:cNvSpPr>
          <p:nvPr/>
        </p:nvSpPr>
        <p:spPr>
          <a:xfrm>
            <a:off x="6193090" y="1052736"/>
            <a:ext cx="5591542" cy="38348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Binar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포함시켜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Binary Release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Binar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포함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rypto Daem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서 관리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및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는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ncryption / Decrypt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을 위한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대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Management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불필요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장점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rypto Daem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ublic Ke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관리하므로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유출 위험이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거의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없음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/ UCM Subordin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비롯한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 Software Upd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연관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pplicat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은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Management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불필요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점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ivate Ke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변경 시 자동차 제조업체 공식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/S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센터 방문 후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새로운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ublic Ke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추가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Binar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Flashing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필요</a:t>
            </a:r>
            <a:endParaRPr lang="en-US" altLang="ko-KR" sz="1400" dirty="0">
              <a:solidFill>
                <a:srgbClr val="FF000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5739" y="1052736"/>
            <a:ext cx="5232373" cy="5046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540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5709600" cy="5170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안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Dynamic Ke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사용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1 Architectural Decision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Security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sp>
        <p:nvSpPr>
          <p:cNvPr id="127" name="텍스트 개체 틀 3"/>
          <p:cNvSpPr txBox="1">
            <a:spLocks/>
          </p:cNvSpPr>
          <p:nvPr/>
        </p:nvSpPr>
        <p:spPr>
          <a:xfrm>
            <a:off x="6193090" y="1052736"/>
            <a:ext cx="5591542" cy="33178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loud Serv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또는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iagnostic Tool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을 이용하여 획득함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장점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ivate Ke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변경 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loud Serv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또는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iagnostic Tool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을 이용하여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업데이트를 쉽게 할 수 있음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점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OTA Client / Diagnostic Applicat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으로부터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전달받을 수 있는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PI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및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rypto Daem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으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전달할 수 있는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PI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추가 개발 필요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간 노출의 위험의 있음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solidFill>
                <a:srgbClr val="FF000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75" y="1058362"/>
            <a:ext cx="6006670" cy="3954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7998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직사각형 28"/>
          <p:cNvSpPr/>
          <p:nvPr/>
        </p:nvSpPr>
        <p:spPr>
          <a:xfrm>
            <a:off x="4602042" y="5028828"/>
            <a:ext cx="144000" cy="14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4602042" y="5172828"/>
            <a:ext cx="144000" cy="14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cxnSp>
        <p:nvCxnSpPr>
          <p:cNvPr id="32" name="꺾인 연결선 31"/>
          <p:cNvCxnSpPr>
            <a:stCxn id="29" idx="3"/>
            <a:endCxn id="31" idx="3"/>
          </p:cNvCxnSpPr>
          <p:nvPr/>
        </p:nvCxnSpPr>
        <p:spPr>
          <a:xfrm>
            <a:off x="4746042" y="5100828"/>
            <a:ext cx="12700" cy="144000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140038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lated Quality Attribute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kumimoji="1" lang="en-US" altLang="ko-K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secase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분석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300MByte(s) Single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Software Package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시 단계별 소요 시간 측정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4</a:t>
            </a: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.2 Architectural Decision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Performance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742621" y="4270513"/>
            <a:ext cx="3998664" cy="288000"/>
          </a:xfrm>
          <a:prstGeom prst="rect">
            <a:avLst/>
          </a:prstGeom>
          <a:gradFill rotWithShape="1">
            <a:gsLst>
              <a:gs pos="0">
                <a:srgbClr val="ED7D31">
                  <a:lumMod val="110000"/>
                  <a:satMod val="105000"/>
                  <a:tint val="67000"/>
                </a:srgbClr>
              </a:gs>
              <a:gs pos="50000">
                <a:srgbClr val="ED7D31">
                  <a:lumMod val="105000"/>
                  <a:satMod val="103000"/>
                  <a:tint val="73000"/>
                </a:srgbClr>
              </a:gs>
              <a:gs pos="100000">
                <a:srgbClr val="ED7D31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kern="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UCM Master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747376" y="3512198"/>
            <a:ext cx="3993909" cy="288000"/>
          </a:xfrm>
          <a:prstGeom prst="rect">
            <a:avLst/>
          </a:prstGeom>
          <a:gradFill rotWithShape="1">
            <a:gsLst>
              <a:gs pos="0">
                <a:srgbClr val="70AD47">
                  <a:lumMod val="110000"/>
                  <a:satMod val="105000"/>
                  <a:tint val="67000"/>
                </a:srgbClr>
              </a:gs>
              <a:gs pos="50000">
                <a:srgbClr val="70AD47">
                  <a:lumMod val="105000"/>
                  <a:satMod val="103000"/>
                  <a:tint val="73000"/>
                </a:srgbClr>
              </a:gs>
              <a:gs pos="100000">
                <a:srgbClr val="70AD47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OTA Client</a:t>
            </a:r>
          </a:p>
        </p:txBody>
      </p:sp>
      <p:sp>
        <p:nvSpPr>
          <p:cNvPr id="12" name="직사각형 11"/>
          <p:cNvSpPr/>
          <p:nvPr/>
        </p:nvSpPr>
        <p:spPr>
          <a:xfrm>
            <a:off x="747375" y="2753883"/>
            <a:ext cx="3993911" cy="288000"/>
          </a:xfrm>
          <a:prstGeom prst="rect">
            <a:avLst/>
          </a:prstGeom>
          <a:gradFill rotWithShape="1">
            <a:gsLst>
              <a:gs pos="0">
                <a:srgbClr val="FFC000">
                  <a:lumMod val="110000"/>
                  <a:satMod val="105000"/>
                  <a:tint val="67000"/>
                </a:srgbClr>
              </a:gs>
              <a:gs pos="50000">
                <a:srgbClr val="FFC000">
                  <a:lumMod val="105000"/>
                  <a:satMod val="103000"/>
                  <a:tint val="73000"/>
                </a:srgbClr>
              </a:gs>
              <a:gs pos="100000">
                <a:srgbClr val="FFC000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FFC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Backend Server</a:t>
            </a:r>
          </a:p>
        </p:txBody>
      </p:sp>
      <p:cxnSp>
        <p:nvCxnSpPr>
          <p:cNvPr id="3" name="직선 화살표 연결선 2"/>
          <p:cNvCxnSpPr>
            <a:stCxn id="12" idx="2"/>
            <a:endCxn id="10" idx="0"/>
          </p:cNvCxnSpPr>
          <p:nvPr/>
        </p:nvCxnSpPr>
        <p:spPr>
          <a:xfrm>
            <a:off x="2744331" y="3041883"/>
            <a:ext cx="0" cy="470315"/>
          </a:xfrm>
          <a:prstGeom prst="straightConnector1">
            <a:avLst/>
          </a:prstGeom>
          <a:ln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직선 화살표 연결선 15"/>
          <p:cNvCxnSpPr>
            <a:stCxn id="10" idx="2"/>
            <a:endCxn id="9" idx="0"/>
          </p:cNvCxnSpPr>
          <p:nvPr/>
        </p:nvCxnSpPr>
        <p:spPr>
          <a:xfrm flipH="1">
            <a:off x="2741953" y="3800198"/>
            <a:ext cx="2378" cy="470315"/>
          </a:xfrm>
          <a:prstGeom prst="straightConnector1">
            <a:avLst/>
          </a:prstGeom>
          <a:ln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화살표 연결선 27"/>
          <p:cNvCxnSpPr>
            <a:stCxn id="9" idx="2"/>
            <a:endCxn id="63" idx="0"/>
          </p:cNvCxnSpPr>
          <p:nvPr/>
        </p:nvCxnSpPr>
        <p:spPr>
          <a:xfrm>
            <a:off x="2741953" y="4558513"/>
            <a:ext cx="2378" cy="470315"/>
          </a:xfrm>
          <a:prstGeom prst="straightConnector1">
            <a:avLst/>
          </a:prstGeom>
          <a:ln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직사각형 36"/>
          <p:cNvSpPr/>
          <p:nvPr/>
        </p:nvSpPr>
        <p:spPr>
          <a:xfrm>
            <a:off x="5094539" y="2888883"/>
            <a:ext cx="864000" cy="18000"/>
          </a:xfrm>
          <a:prstGeom prst="rect">
            <a:avLst/>
          </a:prstGeom>
          <a:solidFill>
            <a:schemeClr val="tx1"/>
          </a:solidFill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44" name="직사각형 43"/>
          <p:cNvSpPr/>
          <p:nvPr/>
        </p:nvSpPr>
        <p:spPr>
          <a:xfrm>
            <a:off x="5094539" y="3650011"/>
            <a:ext cx="864000" cy="18000"/>
          </a:xfrm>
          <a:prstGeom prst="rect">
            <a:avLst/>
          </a:prstGeom>
          <a:solidFill>
            <a:schemeClr val="tx1"/>
          </a:solidFill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5094539" y="5010828"/>
            <a:ext cx="864000" cy="18000"/>
          </a:xfrm>
          <a:prstGeom prst="rect">
            <a:avLst/>
          </a:prstGeom>
          <a:solidFill>
            <a:schemeClr val="tx1"/>
          </a:solidFill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cxnSp>
        <p:nvCxnSpPr>
          <p:cNvPr id="48" name="직선 화살표 연결선 47"/>
          <p:cNvCxnSpPr>
            <a:stCxn id="37" idx="2"/>
            <a:endCxn id="44" idx="0"/>
          </p:cNvCxnSpPr>
          <p:nvPr/>
        </p:nvCxnSpPr>
        <p:spPr>
          <a:xfrm>
            <a:off x="5526539" y="2906883"/>
            <a:ext cx="0" cy="743128"/>
          </a:xfrm>
          <a:prstGeom prst="straightConnector1">
            <a:avLst/>
          </a:prstGeom>
          <a:ln>
            <a:solidFill>
              <a:schemeClr val="tx1"/>
            </a:solidFill>
            <a:prstDash val="sysDot"/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직선 화살표 연결선 50"/>
          <p:cNvCxnSpPr>
            <a:stCxn id="44" idx="2"/>
            <a:endCxn id="45" idx="0"/>
          </p:cNvCxnSpPr>
          <p:nvPr/>
        </p:nvCxnSpPr>
        <p:spPr>
          <a:xfrm>
            <a:off x="5526539" y="3668011"/>
            <a:ext cx="0" cy="1342817"/>
          </a:xfrm>
          <a:prstGeom prst="straightConnector1">
            <a:avLst/>
          </a:prstGeom>
          <a:ln>
            <a:solidFill>
              <a:schemeClr val="tx1"/>
            </a:solidFill>
            <a:prstDash val="sysDot"/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직사각형 53"/>
          <p:cNvSpPr/>
          <p:nvPr/>
        </p:nvSpPr>
        <p:spPr>
          <a:xfrm>
            <a:off x="5094539" y="5298828"/>
            <a:ext cx="864000" cy="18000"/>
          </a:xfrm>
          <a:prstGeom prst="rect">
            <a:avLst/>
          </a:prstGeom>
          <a:solidFill>
            <a:schemeClr val="tx1"/>
          </a:solidFill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cxnSp>
        <p:nvCxnSpPr>
          <p:cNvPr id="55" name="직선 화살표 연결선 54"/>
          <p:cNvCxnSpPr>
            <a:stCxn id="45" idx="2"/>
            <a:endCxn id="54" idx="0"/>
          </p:cNvCxnSpPr>
          <p:nvPr/>
        </p:nvCxnSpPr>
        <p:spPr>
          <a:xfrm>
            <a:off x="5526539" y="5028828"/>
            <a:ext cx="0" cy="270000"/>
          </a:xfrm>
          <a:prstGeom prst="straightConnector1">
            <a:avLst/>
          </a:prstGeom>
          <a:ln>
            <a:solidFill>
              <a:schemeClr val="tx1"/>
            </a:solidFill>
            <a:prstDash val="sysDot"/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직사각형 57"/>
          <p:cNvSpPr/>
          <p:nvPr/>
        </p:nvSpPr>
        <p:spPr>
          <a:xfrm>
            <a:off x="5526539" y="3162929"/>
            <a:ext cx="210826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1000" b="0" kern="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Push Image (About</a:t>
            </a:r>
            <a:r>
              <a:rPr kumimoji="0" lang="ko-KR" altLang="en-US" sz="1000" b="0" kern="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</a:t>
            </a:r>
            <a:r>
              <a:rPr kumimoji="0" lang="en-US" sz="1000" b="0" kern="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3 min. 10 sec.)</a:t>
            </a:r>
            <a:endParaRPr lang="en-US" dirty="0"/>
          </a:p>
        </p:txBody>
      </p:sp>
      <p:sp>
        <p:nvSpPr>
          <p:cNvPr id="59" name="직사각형 58"/>
          <p:cNvSpPr/>
          <p:nvPr/>
        </p:nvSpPr>
        <p:spPr>
          <a:xfrm>
            <a:off x="5526539" y="4291402"/>
            <a:ext cx="237116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1000" b="0" kern="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Transfer Image (About 23 min 20 sec.)</a:t>
            </a:r>
            <a:endParaRPr lang="en-US" dirty="0"/>
          </a:p>
        </p:txBody>
      </p:sp>
      <p:sp>
        <p:nvSpPr>
          <p:cNvPr id="60" name="직사각형 59"/>
          <p:cNvSpPr/>
          <p:nvPr/>
        </p:nvSpPr>
        <p:spPr>
          <a:xfrm>
            <a:off x="5526539" y="5041262"/>
            <a:ext cx="176202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1000" b="0" kern="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Install Image (About 2 min.)</a:t>
            </a:r>
            <a:endParaRPr lang="en-US" dirty="0"/>
          </a:p>
        </p:txBody>
      </p:sp>
      <p:sp>
        <p:nvSpPr>
          <p:cNvPr id="4097" name="모서리가 둥근 직사각형 4096"/>
          <p:cNvSpPr/>
          <p:nvPr/>
        </p:nvSpPr>
        <p:spPr>
          <a:xfrm>
            <a:off x="479375" y="3920011"/>
            <a:ext cx="7492709" cy="989002"/>
          </a:xfrm>
          <a:prstGeom prst="roundRect">
            <a:avLst/>
          </a:prstGeom>
          <a:noFill/>
          <a:ln>
            <a:solidFill>
              <a:srgbClr val="FFC000"/>
            </a:solidFill>
            <a:prstDash val="sysDash"/>
          </a:ln>
        </p:spPr>
        <p:txBody>
          <a:bodyPr rtlCol="0" anchor="ctr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pic>
        <p:nvPicPr>
          <p:cNvPr id="3074" name="Picture 2" descr="체크 표시 클립 아트. 무료 다운로드. | Creazill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4192" y="4270513"/>
            <a:ext cx="289283" cy="289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00" name="직사각형 4099"/>
          <p:cNvSpPr/>
          <p:nvPr/>
        </p:nvSpPr>
        <p:spPr>
          <a:xfrm>
            <a:off x="8113475" y="4214457"/>
            <a:ext cx="259077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0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증가 시 추가 소요 예상</a:t>
            </a:r>
            <a:r>
              <a:rPr lang="en-US" altLang="ko-KR" sz="10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</a:p>
          <a:p>
            <a:r>
              <a:rPr lang="en-US" altLang="ko-KR" sz="10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Update </a:t>
            </a:r>
            <a:r>
              <a:rPr lang="ko-KR" altLang="en-US" sz="10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소요 시간 개선 포인트로 결정</a:t>
            </a:r>
            <a:endParaRPr lang="en-US" altLang="ko-KR" sz="1000" dirty="0">
              <a:solidFill>
                <a:srgbClr val="00B05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grpSp>
        <p:nvGrpSpPr>
          <p:cNvPr id="4102" name="그룹 4101"/>
          <p:cNvGrpSpPr/>
          <p:nvPr/>
        </p:nvGrpSpPr>
        <p:grpSpPr>
          <a:xfrm>
            <a:off x="734074" y="5593980"/>
            <a:ext cx="6200086" cy="972108"/>
            <a:chOff x="1918693" y="5292249"/>
            <a:chExt cx="6200086" cy="972108"/>
          </a:xfrm>
        </p:grpSpPr>
        <p:sp>
          <p:nvSpPr>
            <p:cNvPr id="92" name="직사각형 91"/>
            <p:cNvSpPr/>
            <p:nvPr/>
          </p:nvSpPr>
          <p:spPr>
            <a:xfrm>
              <a:off x="1918693" y="5292249"/>
              <a:ext cx="6200086" cy="972108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Key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grpSp>
          <p:nvGrpSpPr>
            <p:cNvPr id="93" name="그룹 92"/>
            <p:cNvGrpSpPr/>
            <p:nvPr/>
          </p:nvGrpSpPr>
          <p:grpSpPr>
            <a:xfrm>
              <a:off x="2034411" y="5580329"/>
              <a:ext cx="2334721" cy="246221"/>
              <a:chOff x="2918701" y="5593504"/>
              <a:chExt cx="2334721" cy="246221"/>
            </a:xfrm>
          </p:grpSpPr>
          <p:sp>
            <p:nvSpPr>
              <p:cNvPr id="106" name="직사각형 105"/>
              <p:cNvSpPr/>
              <p:nvPr/>
            </p:nvSpPr>
            <p:spPr>
              <a:xfrm>
                <a:off x="2918701" y="5639267"/>
                <a:ext cx="360000" cy="144000"/>
              </a:xfrm>
              <a:prstGeom prst="rect">
                <a:avLst/>
              </a:prstGeom>
              <a:gradFill rotWithShape="1">
                <a:gsLst>
                  <a:gs pos="0">
                    <a:srgbClr val="70AD47">
                      <a:lumMod val="110000"/>
                      <a:satMod val="105000"/>
                      <a:tint val="67000"/>
                    </a:srgbClr>
                  </a:gs>
                  <a:gs pos="50000">
                    <a:srgbClr val="70AD47">
                      <a:lumMod val="105000"/>
                      <a:satMod val="103000"/>
                      <a:tint val="73000"/>
                    </a:srgbClr>
                  </a:gs>
                  <a:gs pos="100000">
                    <a:srgbClr val="70AD47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70AD47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sp>
            <p:nvSpPr>
              <p:cNvPr id="107" name="직사각형 106"/>
              <p:cNvSpPr/>
              <p:nvPr/>
            </p:nvSpPr>
            <p:spPr>
              <a:xfrm>
                <a:off x="3283011" y="5593504"/>
                <a:ext cx="1970411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</a:rPr>
                  <a:t>AUTOSAR Adaptive Application</a:t>
                </a:r>
              </a:p>
            </p:txBody>
          </p:sp>
        </p:grpSp>
        <p:grpSp>
          <p:nvGrpSpPr>
            <p:cNvPr id="94" name="그룹 93"/>
            <p:cNvGrpSpPr/>
            <p:nvPr/>
          </p:nvGrpSpPr>
          <p:grpSpPr>
            <a:xfrm>
              <a:off x="5028760" y="5580329"/>
              <a:ext cx="2639292" cy="246221"/>
              <a:chOff x="5722550" y="5593504"/>
              <a:chExt cx="2639292" cy="246221"/>
            </a:xfrm>
          </p:grpSpPr>
          <p:sp>
            <p:nvSpPr>
              <p:cNvPr id="104" name="직사각형 103"/>
              <p:cNvSpPr/>
              <p:nvPr/>
            </p:nvSpPr>
            <p:spPr>
              <a:xfrm>
                <a:off x="5722550" y="5639267"/>
                <a:ext cx="360000" cy="144000"/>
              </a:xfrm>
              <a:prstGeom prst="rect">
                <a:avLst/>
              </a:prstGeom>
              <a:gradFill rotWithShape="1">
                <a:gsLst>
                  <a:gs pos="0">
                    <a:srgbClr val="ED7D31">
                      <a:lumMod val="110000"/>
                      <a:satMod val="105000"/>
                      <a:tint val="67000"/>
                    </a:srgbClr>
                  </a:gs>
                  <a:gs pos="50000">
                    <a:srgbClr val="ED7D31">
                      <a:lumMod val="105000"/>
                      <a:satMod val="103000"/>
                      <a:tint val="73000"/>
                    </a:srgbClr>
                  </a:gs>
                  <a:gs pos="100000">
                    <a:srgbClr val="ED7D31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ED7D3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sp>
            <p:nvSpPr>
              <p:cNvPr id="105" name="직사각형 104"/>
              <p:cNvSpPr/>
              <p:nvPr/>
            </p:nvSpPr>
            <p:spPr>
              <a:xfrm>
                <a:off x="6086860" y="5593504"/>
                <a:ext cx="2274982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</a:rPr>
                  <a:t>AUTOSAR Adaptive Platform module</a:t>
                </a:r>
              </a:p>
            </p:txBody>
          </p:sp>
        </p:grpSp>
        <p:grpSp>
          <p:nvGrpSpPr>
            <p:cNvPr id="95" name="그룹 94"/>
            <p:cNvGrpSpPr/>
            <p:nvPr/>
          </p:nvGrpSpPr>
          <p:grpSpPr>
            <a:xfrm>
              <a:off x="2030101" y="5903596"/>
              <a:ext cx="1433834" cy="246221"/>
              <a:chOff x="2914391" y="5887268"/>
              <a:chExt cx="1433834" cy="246221"/>
            </a:xfrm>
          </p:grpSpPr>
          <p:sp>
            <p:nvSpPr>
              <p:cNvPr id="102" name="직사각형 101"/>
              <p:cNvSpPr/>
              <p:nvPr/>
            </p:nvSpPr>
            <p:spPr>
              <a:xfrm>
                <a:off x="2914391" y="5933031"/>
                <a:ext cx="360000" cy="144000"/>
              </a:xfrm>
              <a:prstGeom prst="rect">
                <a:avLst/>
              </a:prstGeom>
              <a:gradFill rotWithShape="1">
                <a:gsLst>
                  <a:gs pos="0">
                    <a:srgbClr val="FFC000">
                      <a:lumMod val="110000"/>
                      <a:satMod val="105000"/>
                      <a:tint val="67000"/>
                    </a:srgbClr>
                  </a:gs>
                  <a:gs pos="50000">
                    <a:srgbClr val="FFC000">
                      <a:lumMod val="105000"/>
                      <a:satMod val="103000"/>
                      <a:tint val="73000"/>
                    </a:srgbClr>
                  </a:gs>
                  <a:gs pos="100000">
                    <a:srgbClr val="FFC000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sp>
            <p:nvSpPr>
              <p:cNvPr id="103" name="직사각형 102"/>
              <p:cNvSpPr/>
              <p:nvPr/>
            </p:nvSpPr>
            <p:spPr>
              <a:xfrm>
                <a:off x="3278701" y="5887268"/>
                <a:ext cx="1069524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</a:rPr>
                  <a:t>External Entity</a:t>
                </a:r>
              </a:p>
            </p:txBody>
          </p:sp>
        </p:grpSp>
        <p:grpSp>
          <p:nvGrpSpPr>
            <p:cNvPr id="4101" name="그룹 4100"/>
            <p:cNvGrpSpPr/>
            <p:nvPr/>
          </p:nvGrpSpPr>
          <p:grpSpPr>
            <a:xfrm>
              <a:off x="5028760" y="5898248"/>
              <a:ext cx="1095600" cy="246221"/>
              <a:chOff x="351684" y="6492571"/>
              <a:chExt cx="1095600" cy="246221"/>
            </a:xfrm>
          </p:grpSpPr>
          <p:sp>
            <p:nvSpPr>
              <p:cNvPr id="98" name="직사각형 97"/>
              <p:cNvSpPr/>
              <p:nvPr/>
            </p:nvSpPr>
            <p:spPr>
              <a:xfrm>
                <a:off x="715994" y="6492571"/>
                <a:ext cx="731290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</a:rPr>
                  <a:t>Data flow</a:t>
                </a:r>
              </a:p>
            </p:txBody>
          </p:sp>
          <p:cxnSp>
            <p:nvCxnSpPr>
              <p:cNvPr id="99" name="직선 화살표 연결선 98"/>
              <p:cNvCxnSpPr/>
              <p:nvPr/>
            </p:nvCxnSpPr>
            <p:spPr>
              <a:xfrm>
                <a:off x="351684" y="6610334"/>
                <a:ext cx="36000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stealt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3" name="직사각형 62"/>
          <p:cNvSpPr/>
          <p:nvPr/>
        </p:nvSpPr>
        <p:spPr>
          <a:xfrm>
            <a:off x="747376" y="5028828"/>
            <a:ext cx="3993909" cy="288000"/>
          </a:xfrm>
          <a:prstGeom prst="rect">
            <a:avLst/>
          </a:prstGeom>
          <a:gradFill rotWithShape="1">
            <a:gsLst>
              <a:gs pos="0">
                <a:srgbClr val="ED7D31">
                  <a:lumMod val="110000"/>
                  <a:satMod val="105000"/>
                  <a:tint val="67000"/>
                </a:srgbClr>
              </a:gs>
              <a:gs pos="50000">
                <a:srgbClr val="ED7D31">
                  <a:lumMod val="105000"/>
                  <a:satMod val="103000"/>
                  <a:tint val="73000"/>
                </a:srgbClr>
              </a:gs>
              <a:gs pos="100000">
                <a:srgbClr val="ED7D31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UCM Subordinate</a:t>
            </a:r>
          </a:p>
        </p:txBody>
      </p:sp>
      <p:sp>
        <p:nvSpPr>
          <p:cNvPr id="65" name="직사각형 64"/>
          <p:cNvSpPr/>
          <p:nvPr/>
        </p:nvSpPr>
        <p:spPr>
          <a:xfrm>
            <a:off x="734074" y="2348880"/>
            <a:ext cx="275107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1000" b="0" kern="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With UCM Master, Wireless Software Update</a:t>
            </a:r>
          </a:p>
          <a:p>
            <a:r>
              <a:rPr kumimoji="0" lang="en-US" sz="1000" b="0" kern="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(Software Package 1</a:t>
            </a:r>
            <a:r>
              <a:rPr kumimoji="0" lang="ko-KR" altLang="en-US" sz="1000" b="0" kern="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개 전송</a:t>
            </a:r>
            <a:r>
              <a:rPr kumimoji="0" lang="en-US" sz="1000" b="0" kern="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)</a:t>
            </a:r>
          </a:p>
        </p:txBody>
      </p:sp>
      <p:graphicFrame>
        <p:nvGraphicFramePr>
          <p:cNvPr id="67" name="표 66"/>
          <p:cNvGraphicFramePr>
            <a:graphicFrameLocks noGrp="1"/>
          </p:cNvGraphicFramePr>
          <p:nvPr/>
        </p:nvGraphicFramePr>
        <p:xfrm>
          <a:off x="695400" y="983546"/>
          <a:ext cx="8784976" cy="5486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4747">
                  <a:extLst>
                    <a:ext uri="{9D8B030D-6E8A-4147-A177-3AD203B41FA5}">
                      <a16:colId xmlns:a16="http://schemas.microsoft.com/office/drawing/2014/main" val="742711338"/>
                    </a:ext>
                  </a:extLst>
                </a:gridCol>
                <a:gridCol w="7380229">
                  <a:extLst>
                    <a:ext uri="{9D8B030D-6E8A-4147-A177-3AD203B41FA5}">
                      <a16:colId xmlns:a16="http://schemas.microsoft.com/office/drawing/2014/main" val="2551475643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전체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소요 시간은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Package size 1MB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당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5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초를 넘지 않아야 한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2123277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진행 중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PU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점유율이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30%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초과할 수 없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57484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37497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114185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Upd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소요 시간 개선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trategy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Manage resources (Increase concurrency) VS Control resource demand (Limit event response)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안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Thread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기법을 이용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동시 전송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Increase concurrency)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2 Architectural Decision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Performance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pSp>
        <p:nvGrpSpPr>
          <p:cNvPr id="17" name="그룹 16"/>
          <p:cNvGrpSpPr/>
          <p:nvPr/>
        </p:nvGrpSpPr>
        <p:grpSpPr>
          <a:xfrm>
            <a:off x="5063208" y="6993396"/>
            <a:ext cx="7128792" cy="396044"/>
            <a:chOff x="4247244" y="5877272"/>
            <a:chExt cx="7128792" cy="396044"/>
          </a:xfrm>
        </p:grpSpPr>
        <p:sp>
          <p:nvSpPr>
            <p:cNvPr id="66" name="모서리가 둥근 직사각형 65"/>
            <p:cNvSpPr/>
            <p:nvPr/>
          </p:nvSpPr>
          <p:spPr>
            <a:xfrm>
              <a:off x="4247244" y="5877272"/>
              <a:ext cx="3132348" cy="396044"/>
            </a:xfrm>
            <a:prstGeom prst="roundRect">
              <a:avLst>
                <a:gd name="adj" fmla="val 6007"/>
              </a:avLst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Manage resources (Increase concurrency)</a:t>
              </a:r>
            </a:p>
          </p:txBody>
        </p:sp>
        <p:sp>
          <p:nvSpPr>
            <p:cNvPr id="67" name="모서리가 둥근 직사각형 66"/>
            <p:cNvSpPr/>
            <p:nvPr/>
          </p:nvSpPr>
          <p:spPr>
            <a:xfrm>
              <a:off x="7788188" y="5877272"/>
              <a:ext cx="3587848" cy="396044"/>
            </a:xfrm>
            <a:prstGeom prst="roundRect">
              <a:avLst>
                <a:gd name="adj" fmla="val 6007"/>
              </a:avLst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Control resource demand (Limit event response)</a:t>
              </a:r>
            </a:p>
          </p:txBody>
        </p:sp>
        <p:sp>
          <p:nvSpPr>
            <p:cNvPr id="68" name="직사각형 67"/>
            <p:cNvSpPr/>
            <p:nvPr/>
          </p:nvSpPr>
          <p:spPr>
            <a:xfrm>
              <a:off x="7379592" y="5921405"/>
              <a:ext cx="39946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1400" dirty="0">
                  <a:solidFill>
                    <a:prstClr val="black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  <a:cs typeface="Arial" panose="020B0604020202020204" pitchFamily="34" charset="0"/>
                </a:rPr>
                <a:t>VS</a:t>
              </a:r>
              <a:endParaRPr lang="en-US" dirty="0"/>
            </a:p>
          </p:txBody>
        </p:sp>
      </p:grpSp>
      <p:pic>
        <p:nvPicPr>
          <p:cNvPr id="18" name="그림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2880" y="1888258"/>
            <a:ext cx="4708800" cy="4189679"/>
          </a:xfrm>
          <a:prstGeom prst="rect">
            <a:avLst/>
          </a:prstGeom>
        </p:spPr>
      </p:pic>
      <p:sp>
        <p:nvSpPr>
          <p:cNvPr id="73" name="텍스트 개체 틀 3"/>
          <p:cNvSpPr txBox="1">
            <a:spLocks/>
          </p:cNvSpPr>
          <p:nvPr/>
        </p:nvSpPr>
        <p:spPr>
          <a:xfrm>
            <a:off x="5674997" y="1882522"/>
            <a:ext cx="5440586" cy="35763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다수의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보내야 할 경우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순차적으로 전송하지 않고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hread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기법을 이용하여 각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동시 전송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장점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수가 증가하더라도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동시 전송이 가능하므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시간은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하나의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전송하는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소요 시간에 수렴함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점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해야 할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수가 증가함에 따라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PU Load / Memory usag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증가함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19499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목차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sp>
        <p:nvSpPr>
          <p:cNvPr id="35" name="텍스트 개체 틀 3"/>
          <p:cNvSpPr txBox="1">
            <a:spLocks/>
          </p:cNvSpPr>
          <p:nvPr/>
        </p:nvSpPr>
        <p:spPr>
          <a:xfrm>
            <a:off x="438485" y="672117"/>
            <a:ext cx="11418155" cy="489057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ject Overview</a:t>
            </a: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ject Context</a:t>
            </a: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rchitectural Drivers</a:t>
            </a: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rchitectural Decision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Security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Performance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Availability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Extensibility</a:t>
            </a: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rification</a:t>
            </a: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rchitectural Representation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Static View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Dynamic View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Interface</a:t>
            </a: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Project </a:t>
            </a:r>
            <a:r>
              <a:rPr lang="en-US" altLang="ko-KR" sz="1400" dirty="0" err="1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Restrospection</a:t>
            </a:r>
            <a:endParaRPr lang="en-US" altLang="ko-KR" sz="1400" dirty="0">
              <a:solidFill>
                <a:prstClr val="black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ppendix.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097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2585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2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안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Thread Pool &amp; Work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기법을 이용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Limit event response)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2 Architectural Decision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Performance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pSp>
        <p:nvGrpSpPr>
          <p:cNvPr id="17" name="그룹 16"/>
          <p:cNvGrpSpPr/>
          <p:nvPr/>
        </p:nvGrpSpPr>
        <p:grpSpPr>
          <a:xfrm>
            <a:off x="5063208" y="6993396"/>
            <a:ext cx="7128792" cy="396044"/>
            <a:chOff x="4247244" y="5877272"/>
            <a:chExt cx="7128792" cy="396044"/>
          </a:xfrm>
        </p:grpSpPr>
        <p:sp>
          <p:nvSpPr>
            <p:cNvPr id="66" name="모서리가 둥근 직사각형 65"/>
            <p:cNvSpPr/>
            <p:nvPr/>
          </p:nvSpPr>
          <p:spPr>
            <a:xfrm>
              <a:off x="4247244" y="5877272"/>
              <a:ext cx="3132348" cy="396044"/>
            </a:xfrm>
            <a:prstGeom prst="roundRect">
              <a:avLst>
                <a:gd name="adj" fmla="val 6007"/>
              </a:avLst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Manage resources (Increase concurrency)</a:t>
              </a:r>
            </a:p>
          </p:txBody>
        </p:sp>
        <p:sp>
          <p:nvSpPr>
            <p:cNvPr id="67" name="모서리가 둥근 직사각형 66"/>
            <p:cNvSpPr/>
            <p:nvPr/>
          </p:nvSpPr>
          <p:spPr>
            <a:xfrm>
              <a:off x="7788188" y="5877272"/>
              <a:ext cx="3587848" cy="396044"/>
            </a:xfrm>
            <a:prstGeom prst="roundRect">
              <a:avLst>
                <a:gd name="adj" fmla="val 6007"/>
              </a:avLst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Control resource demand (Limit event response)</a:t>
              </a:r>
            </a:p>
          </p:txBody>
        </p:sp>
        <p:sp>
          <p:nvSpPr>
            <p:cNvPr id="68" name="직사각형 67"/>
            <p:cNvSpPr/>
            <p:nvPr/>
          </p:nvSpPr>
          <p:spPr>
            <a:xfrm>
              <a:off x="7379592" y="5921405"/>
              <a:ext cx="39946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1400" dirty="0">
                  <a:solidFill>
                    <a:prstClr val="black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  <a:cs typeface="Arial" panose="020B0604020202020204" pitchFamily="34" charset="0"/>
                </a:rPr>
                <a:t>VS</a:t>
              </a:r>
              <a:endParaRPr lang="en-US" dirty="0"/>
            </a:p>
          </p:txBody>
        </p:sp>
      </p:grpSp>
      <p:sp>
        <p:nvSpPr>
          <p:cNvPr id="73" name="텍스트 개체 틀 3"/>
          <p:cNvSpPr txBox="1">
            <a:spLocks/>
          </p:cNvSpPr>
          <p:nvPr/>
        </p:nvSpPr>
        <p:spPr>
          <a:xfrm>
            <a:off x="5674997" y="1070051"/>
            <a:ext cx="5440586" cy="38348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다수의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보내야 할 경우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순차적으로 전송하지 않고 동시에 전송하되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hread Pool &amp; Thread Work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기법을 이용하여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동시에 전송할 수 있는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수를 조절함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장점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hread Work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수를 설정함으로써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동시 전송할 수 있는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수를 조절할 수 있으며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이에 따라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Memory Usag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컨트롤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할 수 있음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점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hread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기법을 이용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에 비해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총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소요 시간이 증가함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2" name="그림 1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1070051"/>
            <a:ext cx="4708227" cy="5677087"/>
          </a:xfrm>
          <a:prstGeom prst="rect">
            <a:avLst/>
          </a:prstGeom>
        </p:spPr>
      </p:pic>
      <p:pic>
        <p:nvPicPr>
          <p:cNvPr id="13" name="Picture 2" descr="체크 표시 클립 아트. 무료 다운로드. | Creazill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6180" y="656741"/>
            <a:ext cx="289283" cy="289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39208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2283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lated Quality Attribute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결함 방지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및 복구를 위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trategy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etect Faults(Heartbeat), Recover from Faults(Cold spare) VS Recover from faults (Active Redundancy)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안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LARA platform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모듈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HM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복구 메커니즘 활용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&amp; St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저장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3 Architectural Decision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Availability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sp>
        <p:nvSpPr>
          <p:cNvPr id="61" name="텍스트 개체 틀 3"/>
          <p:cNvSpPr txBox="1">
            <a:spLocks/>
          </p:cNvSpPr>
          <p:nvPr/>
        </p:nvSpPr>
        <p:spPr>
          <a:xfrm>
            <a:off x="6312024" y="3045961"/>
            <a:ext cx="5440586" cy="25422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UTOSAR Adaptive Functional Clust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중 하나인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HM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과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Heartbeat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통신을 통하여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live Check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수행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imeout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주기 내에 응답이 없는 경우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PHM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이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 err="1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재시작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는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400" dirty="0" err="1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재시작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시 중단 없는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Upd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위하여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torag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t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업데이트</a:t>
            </a: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장점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구현이 쉽고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결함 복구를 위한 방법 중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sourc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사용량이 가장 적음</a:t>
            </a: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점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결함 탐지 후 </a:t>
            </a:r>
            <a:r>
              <a:rPr lang="ko-KR" altLang="en-US" sz="1400" dirty="0" err="1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재시작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시 까지 일정 시간 소요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Max. 4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초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268" y="3160209"/>
            <a:ext cx="5474682" cy="1469263"/>
          </a:xfrm>
          <a:prstGeom prst="rect">
            <a:avLst/>
          </a:prstGeom>
        </p:spPr>
      </p:pic>
      <p:pic>
        <p:nvPicPr>
          <p:cNvPr id="63" name="Picture 2" descr="체크 표시 클립 아트. 무료 다운로드. | Creazill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5940" y="2666536"/>
            <a:ext cx="289283" cy="289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표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7320053"/>
              </p:ext>
            </p:extLst>
          </p:nvPr>
        </p:nvGraphicFramePr>
        <p:xfrm>
          <a:off x="695400" y="982721"/>
          <a:ext cx="8784976" cy="5486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4747">
                  <a:extLst>
                    <a:ext uri="{9D8B030D-6E8A-4147-A177-3AD203B41FA5}">
                      <a16:colId xmlns:a16="http://schemas.microsoft.com/office/drawing/2014/main" val="3549804782"/>
                    </a:ext>
                  </a:extLst>
                </a:gridCol>
                <a:gridCol w="7380229">
                  <a:extLst>
                    <a:ext uri="{9D8B030D-6E8A-4147-A177-3AD203B41FA5}">
                      <a16:colId xmlns:a16="http://schemas.microsoft.com/office/drawing/2014/main" val="554491543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도중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결함으로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pdat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가 중지되어서는 안된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6080043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도중 전원이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Off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되더라도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전원이 다시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On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되면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pdat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재개되어야 한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50670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0880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2585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안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LARA platform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모듈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HM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복구 메커니즘 활용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&amp; St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저장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3 Architectural Decision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Availability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907" y="1304764"/>
            <a:ext cx="5474682" cy="2597121"/>
          </a:xfrm>
          <a:prstGeom prst="rect">
            <a:avLst/>
          </a:prstGeom>
        </p:spPr>
      </p:pic>
      <p:sp>
        <p:nvSpPr>
          <p:cNvPr id="9" name="텍스트 개체 틀 3"/>
          <p:cNvSpPr txBox="1">
            <a:spLocks/>
          </p:cNvSpPr>
          <p:nvPr/>
        </p:nvSpPr>
        <p:spPr>
          <a:xfrm>
            <a:off x="6312024" y="1135039"/>
            <a:ext cx="5440586" cy="40934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Process 2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 운용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OTA Client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와 각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는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ing / Echo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로 통신하면서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imary UCM Mast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Terminat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된 경우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econdary UCM Mast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통해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Upd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계속 진행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장점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imary UCM Mast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erminat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되더라도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중단없이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econdary UCM Mast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On-going Software Upd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진행할 수 있음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점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Upd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진행 여부와 관계없이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항상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의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process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실행되고 있어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sourc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배로 필요함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15896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57954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lated Quality Attribute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kumimoji="1" lang="en-US" altLang="ko-K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secase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분석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기존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존재하지 않던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B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Diagnostic Tester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의해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설치한 경우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ECU B (Old version)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물리적 손상으로 새로운 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B (The latest version)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로 교체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새로운 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B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는 이미 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포함된 이미지가 인스톨됨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4 Architectural Decision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Extensibility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pSp>
        <p:nvGrpSpPr>
          <p:cNvPr id="117" name="그룹 116"/>
          <p:cNvGrpSpPr/>
          <p:nvPr/>
        </p:nvGrpSpPr>
        <p:grpSpPr>
          <a:xfrm>
            <a:off x="551384" y="2334240"/>
            <a:ext cx="11053228" cy="3507028"/>
            <a:chOff x="551384" y="2204864"/>
            <a:chExt cx="11053228" cy="3507028"/>
          </a:xfrm>
        </p:grpSpPr>
        <p:pic>
          <p:nvPicPr>
            <p:cNvPr id="102" name="그림 10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51384" y="2204864"/>
              <a:ext cx="6051109" cy="3507028"/>
            </a:xfrm>
            <a:prstGeom prst="rect">
              <a:avLst/>
            </a:prstGeom>
          </p:spPr>
        </p:pic>
        <p:pic>
          <p:nvPicPr>
            <p:cNvPr id="115" name="그림 11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69134" y="2976188"/>
              <a:ext cx="4735478" cy="2373684"/>
            </a:xfrm>
            <a:prstGeom prst="rect">
              <a:avLst/>
            </a:prstGeom>
          </p:spPr>
        </p:pic>
        <p:sp>
          <p:nvSpPr>
            <p:cNvPr id="116" name="오른쪽 화살표 115"/>
            <p:cNvSpPr/>
            <p:nvPr/>
          </p:nvSpPr>
          <p:spPr>
            <a:xfrm>
              <a:off x="5949540" y="3965008"/>
              <a:ext cx="396044" cy="396044"/>
            </a:xfrm>
            <a:prstGeom prst="rightArrow">
              <a:avLst/>
            </a:prstGeom>
            <a:solidFill>
              <a:schemeClr val="bg1">
                <a:lumMod val="75000"/>
              </a:schemeClr>
            </a:solidFill>
          </p:spPr>
          <p:txBody>
            <a:bodyPr rtlCol="0" anchor="ctr">
              <a:sp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endParaRPr>
            </a:p>
          </p:txBody>
        </p:sp>
      </p:grpSp>
      <p:pic>
        <p:nvPicPr>
          <p:cNvPr id="124" name="그림 12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89856" y="2214552"/>
            <a:ext cx="2014756" cy="908696"/>
          </a:xfrm>
          <a:prstGeom prst="rect">
            <a:avLst/>
          </a:prstGeom>
        </p:spPr>
      </p:pic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4601433"/>
              </p:ext>
            </p:extLst>
          </p:nvPr>
        </p:nvGraphicFramePr>
        <p:xfrm>
          <a:off x="695400" y="982721"/>
          <a:ext cx="8784976" cy="4572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4747">
                  <a:extLst>
                    <a:ext uri="{9D8B030D-6E8A-4147-A177-3AD203B41FA5}">
                      <a16:colId xmlns:a16="http://schemas.microsoft.com/office/drawing/2014/main" val="1957302077"/>
                    </a:ext>
                  </a:extLst>
                </a:gridCol>
                <a:gridCol w="7380229">
                  <a:extLst>
                    <a:ext uri="{9D8B030D-6E8A-4147-A177-3AD203B41FA5}">
                      <a16:colId xmlns:a16="http://schemas.microsoft.com/office/drawing/2014/main" val="508759771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7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이 새로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stall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된 경우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 UCM Master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compil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없이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과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teraction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할 수 있고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</a:t>
                      </a:r>
                      <a:b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새로운 버전으로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Subordinat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을 업데이트 시킬 수 있어야 한다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980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95625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49121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내 존재하는 모든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각각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ntrol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하기 위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stance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UCM Master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는 </a:t>
            </a:r>
            <a:r>
              <a:rPr lang="en-US" altLang="ko-KR" sz="1400" noProof="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(s) </a:t>
            </a:r>
            <a:r>
              <a:rPr lang="ko-KR" altLang="en-US" sz="1400" noProof="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통하여 각 </a:t>
            </a:r>
            <a:r>
              <a:rPr lang="en-US" altLang="ko-KR" sz="1400" noProof="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</a:t>
            </a:r>
            <a:r>
              <a:rPr lang="ko-KR" altLang="en-US" sz="1400" noProof="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설치된 </a:t>
            </a:r>
            <a:r>
              <a:rPr lang="en-US" altLang="ko-KR" sz="1400" noProof="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</a:t>
            </a:r>
            <a:r>
              <a:rPr lang="ko-KR" altLang="en-US" sz="1400" noProof="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정보를 수집하므로</a:t>
            </a:r>
            <a:r>
              <a:rPr lang="en-US" altLang="ko-KR" sz="1400" noProof="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noProof="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noProof="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Runtime </a:t>
            </a:r>
            <a:r>
              <a:rPr lang="ko-KR" altLang="en-US" sz="1400" noProof="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시 </a:t>
            </a:r>
            <a:r>
              <a:rPr lang="en-US" altLang="ko-KR" sz="1400" noProof="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(s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와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teract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은 중요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sponsibilit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중 하나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또한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현재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는 여러 가지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rs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으로 각 회사에서 개발 진행하고 있음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(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현재 존재하는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(s) vers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은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19-11, R20-11, R21-11, R22-11 4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지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제공하는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terfac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일부 차이가 있음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Runtim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시 추가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와의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Interact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을 위한 동적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stanc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생성을 위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lut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비교 필요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4 Architectural Decision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Extensibility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pSp>
        <p:nvGrpSpPr>
          <p:cNvPr id="63" name="그룹 62"/>
          <p:cNvGrpSpPr/>
          <p:nvPr/>
        </p:nvGrpSpPr>
        <p:grpSpPr>
          <a:xfrm>
            <a:off x="690381" y="1052736"/>
            <a:ext cx="8996277" cy="2455094"/>
            <a:chOff x="690381" y="1103241"/>
            <a:chExt cx="8996277" cy="2455094"/>
          </a:xfrm>
        </p:grpSpPr>
        <p:sp>
          <p:nvSpPr>
            <p:cNvPr id="64" name="직사각형 63"/>
            <p:cNvSpPr/>
            <p:nvPr/>
          </p:nvSpPr>
          <p:spPr>
            <a:xfrm>
              <a:off x="690381" y="1103241"/>
              <a:ext cx="5422184" cy="1072714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ysDash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ECU O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65" name="직사각형 64"/>
            <p:cNvSpPr/>
            <p:nvPr/>
          </p:nvSpPr>
          <p:spPr>
            <a:xfrm>
              <a:off x="690382" y="2485621"/>
              <a:ext cx="1675132" cy="1072714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ysDash"/>
              <a:miter lim="800000"/>
            </a:ln>
            <a:effectLst/>
          </p:spPr>
          <p:txBody>
            <a:bodyPr rtlCol="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ECU A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66" name="직사각형 65"/>
            <p:cNvSpPr/>
            <p:nvPr/>
          </p:nvSpPr>
          <p:spPr>
            <a:xfrm>
              <a:off x="4437433" y="2485621"/>
              <a:ext cx="1675132" cy="1072714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ysDash"/>
              <a:miter lim="800000"/>
            </a:ln>
            <a:effectLst/>
          </p:spPr>
          <p:txBody>
            <a:bodyPr rtlCol="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ECU C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67" name="직사각형 66"/>
            <p:cNvSpPr/>
            <p:nvPr/>
          </p:nvSpPr>
          <p:spPr>
            <a:xfrm>
              <a:off x="2563907" y="2485621"/>
              <a:ext cx="1675132" cy="1072714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ysDash"/>
              <a:miter lim="800000"/>
            </a:ln>
            <a:effectLst/>
          </p:spPr>
          <p:txBody>
            <a:bodyPr rtlCol="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ECU B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68" name="직사각형 67">
              <a:extLst>
                <a:ext uri="{FF2B5EF4-FFF2-40B4-BE49-F238E27FC236}">
                  <a16:creationId xmlns:a16="http://schemas.microsoft.com/office/drawing/2014/main" id="{64C3E2E0-E370-51E2-45FE-DE90FEC251E9}"/>
                </a:ext>
              </a:extLst>
            </p:cNvPr>
            <p:cNvSpPr/>
            <p:nvPr/>
          </p:nvSpPr>
          <p:spPr>
            <a:xfrm>
              <a:off x="4626999" y="2805978"/>
              <a:ext cx="1296000" cy="432000"/>
            </a:xfrm>
            <a:prstGeom prst="rect">
              <a:avLst/>
            </a:prstGeom>
            <a:gradFill rotWithShape="1">
              <a:gsLst>
                <a:gs pos="0">
                  <a:srgbClr val="ED7D31">
                    <a:lumMod val="110000"/>
                    <a:satMod val="105000"/>
                    <a:tint val="67000"/>
                  </a:srgbClr>
                </a:gs>
                <a:gs pos="50000">
                  <a:srgbClr val="ED7D31">
                    <a:lumMod val="105000"/>
                    <a:satMod val="103000"/>
                    <a:tint val="73000"/>
                  </a:srgbClr>
                </a:gs>
                <a:gs pos="100000">
                  <a:srgbClr val="ED7D31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UCM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Subordinate</a:t>
              </a:r>
            </a:p>
          </p:txBody>
        </p:sp>
        <p:sp>
          <p:nvSpPr>
            <p:cNvPr id="69" name="직사각형 68">
              <a:extLst>
                <a:ext uri="{FF2B5EF4-FFF2-40B4-BE49-F238E27FC236}">
                  <a16:creationId xmlns:a16="http://schemas.microsoft.com/office/drawing/2014/main" id="{64C3E2E0-E370-51E2-45FE-DE90FEC251E9}"/>
                </a:ext>
              </a:extLst>
            </p:cNvPr>
            <p:cNvSpPr/>
            <p:nvPr/>
          </p:nvSpPr>
          <p:spPr>
            <a:xfrm>
              <a:off x="2748686" y="2805978"/>
              <a:ext cx="1296000" cy="432000"/>
            </a:xfrm>
            <a:prstGeom prst="rect">
              <a:avLst/>
            </a:prstGeom>
            <a:gradFill rotWithShape="1">
              <a:gsLst>
                <a:gs pos="0">
                  <a:srgbClr val="ED7D31">
                    <a:lumMod val="110000"/>
                    <a:satMod val="105000"/>
                    <a:tint val="67000"/>
                  </a:srgbClr>
                </a:gs>
                <a:gs pos="50000">
                  <a:srgbClr val="ED7D31">
                    <a:lumMod val="105000"/>
                    <a:satMod val="103000"/>
                    <a:tint val="73000"/>
                  </a:srgbClr>
                </a:gs>
                <a:gs pos="100000">
                  <a:srgbClr val="ED7D31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UCM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Subordinate</a:t>
              </a:r>
            </a:p>
          </p:txBody>
        </p:sp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64C3E2E0-E370-51E2-45FE-DE90FEC251E9}"/>
                </a:ext>
              </a:extLst>
            </p:cNvPr>
            <p:cNvSpPr/>
            <p:nvPr/>
          </p:nvSpPr>
          <p:spPr>
            <a:xfrm>
              <a:off x="879948" y="2805978"/>
              <a:ext cx="1296000" cy="432000"/>
            </a:xfrm>
            <a:prstGeom prst="rect">
              <a:avLst/>
            </a:prstGeom>
            <a:gradFill rotWithShape="1">
              <a:gsLst>
                <a:gs pos="0">
                  <a:srgbClr val="ED7D31">
                    <a:lumMod val="110000"/>
                    <a:satMod val="105000"/>
                    <a:tint val="67000"/>
                  </a:srgbClr>
                </a:gs>
                <a:gs pos="50000">
                  <a:srgbClr val="ED7D31">
                    <a:lumMod val="105000"/>
                    <a:satMod val="103000"/>
                    <a:tint val="73000"/>
                  </a:srgbClr>
                </a:gs>
                <a:gs pos="100000">
                  <a:srgbClr val="ED7D31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UCM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Subordinate</a:t>
              </a:r>
            </a:p>
          </p:txBody>
        </p:sp>
        <p:sp>
          <p:nvSpPr>
            <p:cNvPr id="71" name="직사각형 70"/>
            <p:cNvSpPr/>
            <p:nvPr/>
          </p:nvSpPr>
          <p:spPr>
            <a:xfrm>
              <a:off x="807154" y="1306881"/>
              <a:ext cx="5188638" cy="773995"/>
            </a:xfrm>
            <a:prstGeom prst="rect">
              <a:avLst/>
            </a:prstGeom>
            <a:gradFill rotWithShape="1">
              <a:gsLst>
                <a:gs pos="0">
                  <a:srgbClr val="ED7D31">
                    <a:lumMod val="110000"/>
                    <a:satMod val="105000"/>
                    <a:tint val="67000"/>
                  </a:srgbClr>
                </a:gs>
                <a:gs pos="50000">
                  <a:srgbClr val="ED7D31">
                    <a:lumMod val="105000"/>
                    <a:satMod val="103000"/>
                    <a:tint val="73000"/>
                  </a:srgbClr>
                </a:gs>
                <a:gs pos="100000">
                  <a:srgbClr val="ED7D31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UCM Master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72" name="직사각형 71"/>
            <p:cNvSpPr/>
            <p:nvPr/>
          </p:nvSpPr>
          <p:spPr>
            <a:xfrm>
              <a:off x="879948" y="1547307"/>
              <a:ext cx="1296000" cy="432000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UCM Subordinat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Instance A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73" name="직사각형 72"/>
            <p:cNvSpPr/>
            <p:nvPr/>
          </p:nvSpPr>
          <p:spPr>
            <a:xfrm>
              <a:off x="2748686" y="1547307"/>
              <a:ext cx="1296000" cy="432000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UCM Subordinat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Instance B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74" name="직사각형 73"/>
            <p:cNvSpPr/>
            <p:nvPr/>
          </p:nvSpPr>
          <p:spPr>
            <a:xfrm>
              <a:off x="4626999" y="1547307"/>
              <a:ext cx="1296000" cy="432000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UCM Subordinat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Instance C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grpSp>
          <p:nvGrpSpPr>
            <p:cNvPr id="75" name="그룹 74"/>
            <p:cNvGrpSpPr/>
            <p:nvPr/>
          </p:nvGrpSpPr>
          <p:grpSpPr>
            <a:xfrm>
              <a:off x="1461148" y="1979307"/>
              <a:ext cx="133600" cy="826671"/>
              <a:chOff x="1461148" y="1979307"/>
              <a:chExt cx="133600" cy="826671"/>
            </a:xfrm>
          </p:grpSpPr>
          <p:cxnSp>
            <p:nvCxnSpPr>
              <p:cNvPr id="88" name="직선 화살표 연결선 87"/>
              <p:cNvCxnSpPr/>
              <p:nvPr/>
            </p:nvCxnSpPr>
            <p:spPr>
              <a:xfrm>
                <a:off x="1461148" y="1979307"/>
                <a:ext cx="0" cy="826671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00B050"/>
                </a:solidFill>
                <a:prstDash val="solid"/>
                <a:miter lim="800000"/>
                <a:tailEnd type="stealth"/>
              </a:ln>
              <a:effectLst/>
            </p:spPr>
          </p:cxnSp>
          <p:cxnSp>
            <p:nvCxnSpPr>
              <p:cNvPr id="89" name="직선 화살표 연결선 88"/>
              <p:cNvCxnSpPr/>
              <p:nvPr/>
            </p:nvCxnSpPr>
            <p:spPr>
              <a:xfrm>
                <a:off x="1594748" y="1979307"/>
                <a:ext cx="0" cy="826671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FF0000"/>
                </a:solidFill>
                <a:prstDash val="solid"/>
                <a:miter lim="800000"/>
                <a:headEnd type="stealth"/>
                <a:tailEnd type="none"/>
              </a:ln>
              <a:effectLst/>
            </p:spPr>
          </p:cxnSp>
        </p:grpSp>
        <p:grpSp>
          <p:nvGrpSpPr>
            <p:cNvPr id="76" name="그룹 75"/>
            <p:cNvGrpSpPr/>
            <p:nvPr/>
          </p:nvGrpSpPr>
          <p:grpSpPr>
            <a:xfrm>
              <a:off x="3329886" y="1979306"/>
              <a:ext cx="133600" cy="826671"/>
              <a:chOff x="1461148" y="1979307"/>
              <a:chExt cx="133600" cy="826671"/>
            </a:xfrm>
          </p:grpSpPr>
          <p:cxnSp>
            <p:nvCxnSpPr>
              <p:cNvPr id="86" name="직선 화살표 연결선 85"/>
              <p:cNvCxnSpPr/>
              <p:nvPr/>
            </p:nvCxnSpPr>
            <p:spPr>
              <a:xfrm>
                <a:off x="1461148" y="1979307"/>
                <a:ext cx="0" cy="826671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00B050"/>
                </a:solidFill>
                <a:prstDash val="solid"/>
                <a:miter lim="800000"/>
                <a:tailEnd type="stealth"/>
              </a:ln>
              <a:effectLst/>
            </p:spPr>
          </p:cxnSp>
          <p:cxnSp>
            <p:nvCxnSpPr>
              <p:cNvPr id="87" name="직선 화살표 연결선 86"/>
              <p:cNvCxnSpPr/>
              <p:nvPr/>
            </p:nvCxnSpPr>
            <p:spPr>
              <a:xfrm>
                <a:off x="1594748" y="1979307"/>
                <a:ext cx="0" cy="826671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FF0000"/>
                </a:solidFill>
                <a:prstDash val="solid"/>
                <a:miter lim="800000"/>
                <a:headEnd type="stealth"/>
                <a:tailEnd type="none"/>
              </a:ln>
              <a:effectLst/>
            </p:spPr>
          </p:cxnSp>
        </p:grpSp>
        <p:grpSp>
          <p:nvGrpSpPr>
            <p:cNvPr id="77" name="그룹 76"/>
            <p:cNvGrpSpPr/>
            <p:nvPr/>
          </p:nvGrpSpPr>
          <p:grpSpPr>
            <a:xfrm>
              <a:off x="5208199" y="1979305"/>
              <a:ext cx="133600" cy="826671"/>
              <a:chOff x="1461148" y="1979307"/>
              <a:chExt cx="133600" cy="826671"/>
            </a:xfrm>
          </p:grpSpPr>
          <p:cxnSp>
            <p:nvCxnSpPr>
              <p:cNvPr id="84" name="직선 화살표 연결선 83"/>
              <p:cNvCxnSpPr/>
              <p:nvPr/>
            </p:nvCxnSpPr>
            <p:spPr>
              <a:xfrm>
                <a:off x="1461148" y="1979307"/>
                <a:ext cx="0" cy="826671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00B050"/>
                </a:solidFill>
                <a:prstDash val="solid"/>
                <a:miter lim="800000"/>
                <a:tailEnd type="stealth"/>
              </a:ln>
              <a:effectLst/>
            </p:spPr>
          </p:cxnSp>
          <p:cxnSp>
            <p:nvCxnSpPr>
              <p:cNvPr id="85" name="직선 화살표 연결선 84"/>
              <p:cNvCxnSpPr/>
              <p:nvPr/>
            </p:nvCxnSpPr>
            <p:spPr>
              <a:xfrm>
                <a:off x="1594748" y="1979307"/>
                <a:ext cx="0" cy="826671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FF0000"/>
                </a:solidFill>
                <a:prstDash val="solid"/>
                <a:miter lim="800000"/>
                <a:headEnd type="stealth"/>
                <a:tailEnd type="none"/>
              </a:ln>
              <a:effectLst/>
            </p:spPr>
          </p:cxnSp>
        </p:grpSp>
        <p:grpSp>
          <p:nvGrpSpPr>
            <p:cNvPr id="78" name="그룹 77"/>
            <p:cNvGrpSpPr/>
            <p:nvPr/>
          </p:nvGrpSpPr>
          <p:grpSpPr>
            <a:xfrm>
              <a:off x="6427410" y="2218390"/>
              <a:ext cx="3259248" cy="1339945"/>
              <a:chOff x="3141552" y="3789611"/>
              <a:chExt cx="3259248" cy="1339945"/>
            </a:xfrm>
          </p:grpSpPr>
          <p:cxnSp>
            <p:nvCxnSpPr>
              <p:cNvPr id="79" name="직선 화살표 연결선 78"/>
              <p:cNvCxnSpPr/>
              <p:nvPr/>
            </p:nvCxnSpPr>
            <p:spPr>
              <a:xfrm rot="16200000">
                <a:off x="3396686" y="4779443"/>
                <a:ext cx="0" cy="345621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00B050"/>
                </a:solidFill>
                <a:prstDash val="solid"/>
                <a:miter lim="800000"/>
                <a:tailEnd type="stealth"/>
              </a:ln>
              <a:effectLst/>
            </p:spPr>
          </p:cxnSp>
          <p:cxnSp>
            <p:nvCxnSpPr>
              <p:cNvPr id="80" name="직선 화살표 연결선 79"/>
              <p:cNvCxnSpPr/>
              <p:nvPr/>
            </p:nvCxnSpPr>
            <p:spPr>
              <a:xfrm rot="16200000">
                <a:off x="3396686" y="4537287"/>
                <a:ext cx="0" cy="345621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FF0000"/>
                </a:solidFill>
                <a:prstDash val="solid"/>
                <a:miter lim="800000"/>
                <a:headEnd type="stealth"/>
                <a:tailEnd type="none"/>
              </a:ln>
              <a:effectLst/>
            </p:spPr>
          </p:cxnSp>
          <p:sp>
            <p:nvSpPr>
              <p:cNvPr id="81" name="직사각형 80">
                <a:extLst>
                  <a:ext uri="{FF2B5EF4-FFF2-40B4-BE49-F238E27FC236}">
                    <a16:creationId xmlns:a16="http://schemas.microsoft.com/office/drawing/2014/main" id="{563D3819-47AB-AFDA-3922-6AFCE3C612DA}"/>
                  </a:ext>
                </a:extLst>
              </p:cNvPr>
              <p:cNvSpPr/>
              <p:nvPr/>
            </p:nvSpPr>
            <p:spPr>
              <a:xfrm>
                <a:off x="3141552" y="3789611"/>
                <a:ext cx="3259248" cy="1339945"/>
              </a:xfrm>
              <a:prstGeom prst="rect">
                <a:avLst/>
              </a:prstGeom>
              <a:noFill/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defTabSz="914400" eaLnBrk="1" fontAlgn="auto" latinLnBrk="0" hangingPunct="1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Key</a:t>
                </a:r>
              </a:p>
              <a:p>
                <a:pPr marL="0" marR="0" lvl="0" indent="0" defTabSz="914400" eaLnBrk="1" fontAlgn="auto" latinLnBrk="0" hangingPunct="1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             Adaptive AUTOSAR Functional Cluster</a:t>
                </a:r>
              </a:p>
              <a:p>
                <a:pPr marL="0" marR="0" lvl="0" indent="0" defTabSz="914400" eaLnBrk="1" fontAlgn="auto" latinLnBrk="0" hangingPunct="1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             UCM Subordinate </a:t>
                </a:r>
                <a:r>
                  <a:rPr kumimoji="0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관리를 위한 </a:t>
                </a:r>
                <a:r>
                  <a:rPr kumimoji="0" lang="en-US" altLang="ko-KR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Class </a:t>
                </a:r>
                <a:r>
                  <a:rPr kumimoji="0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의 </a:t>
                </a:r>
                <a:r>
                  <a:rPr kumimoji="0" lang="en-US" altLang="ko-KR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Object</a:t>
                </a:r>
              </a:p>
              <a:p>
                <a:pPr marL="0" marR="0" lvl="0" indent="0" defTabSz="914400" eaLnBrk="1" fontAlgn="auto" latinLnBrk="0" hangingPunct="1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             SWCL Info, History, and so on</a:t>
                </a:r>
              </a:p>
              <a:p>
                <a:pPr marL="0" marR="0" lvl="0" indent="0" defTabSz="914400" eaLnBrk="1" fontAlgn="auto" latinLnBrk="0" hangingPunct="1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             Transfer Software Package</a:t>
                </a:r>
              </a:p>
            </p:txBody>
          </p:sp>
          <p:sp>
            <p:nvSpPr>
              <p:cNvPr id="82" name="직사각형 81">
                <a:extLst>
                  <a:ext uri="{FF2B5EF4-FFF2-40B4-BE49-F238E27FC236}">
                    <a16:creationId xmlns:a16="http://schemas.microsoft.com/office/drawing/2014/main" id="{D3B2E71E-3EAC-8284-B9F9-C8DA06C9F8F4}"/>
                  </a:ext>
                </a:extLst>
              </p:cNvPr>
              <p:cNvSpPr/>
              <p:nvPr/>
            </p:nvSpPr>
            <p:spPr>
              <a:xfrm>
                <a:off x="3223875" y="4139011"/>
                <a:ext cx="345621" cy="157066"/>
              </a:xfrm>
              <a:prstGeom prst="rect">
                <a:avLst/>
              </a:prstGeom>
              <a:gradFill rotWithShape="1">
                <a:gsLst>
                  <a:gs pos="0">
                    <a:srgbClr val="ED7D31">
                      <a:lumMod val="110000"/>
                      <a:satMod val="105000"/>
                      <a:tint val="67000"/>
                    </a:srgbClr>
                  </a:gs>
                  <a:gs pos="50000">
                    <a:srgbClr val="ED7D31">
                      <a:lumMod val="105000"/>
                      <a:satMod val="103000"/>
                      <a:tint val="73000"/>
                    </a:srgbClr>
                  </a:gs>
                  <a:gs pos="100000">
                    <a:srgbClr val="ED7D31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ED7D3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sp>
            <p:nvSpPr>
              <p:cNvPr id="83" name="직사각형 82"/>
              <p:cNvSpPr/>
              <p:nvPr/>
            </p:nvSpPr>
            <p:spPr>
              <a:xfrm>
                <a:off x="3223875" y="4389409"/>
                <a:ext cx="345621" cy="157066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301353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43372" y="656692"/>
            <a:ext cx="5709600" cy="41365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안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Simple Factory pattern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4 Architectural Decision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Extensibility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371" y="1052736"/>
            <a:ext cx="5401219" cy="2413311"/>
          </a:xfrm>
          <a:prstGeom prst="rect">
            <a:avLst/>
          </a:prstGeom>
        </p:spPr>
      </p:pic>
      <p:sp>
        <p:nvSpPr>
          <p:cNvPr id="290" name="텍스트 개체 틀 3"/>
          <p:cNvSpPr txBox="1">
            <a:spLocks/>
          </p:cNvSpPr>
          <p:nvPr/>
        </p:nvSpPr>
        <p:spPr>
          <a:xfrm>
            <a:off x="6152449" y="656692"/>
            <a:ext cx="5709600" cy="41365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안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Prototype pattern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291" name="그림 29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3173" y="1247107"/>
            <a:ext cx="5401219" cy="2219136"/>
          </a:xfrm>
          <a:prstGeom prst="rect">
            <a:avLst/>
          </a:prstGeom>
        </p:spPr>
      </p:pic>
      <p:sp>
        <p:nvSpPr>
          <p:cNvPr id="292" name="텍스트 개체 틀 3"/>
          <p:cNvSpPr txBox="1">
            <a:spLocks/>
          </p:cNvSpPr>
          <p:nvPr/>
        </p:nvSpPr>
        <p:spPr>
          <a:xfrm>
            <a:off x="442849" y="3605741"/>
            <a:ext cx="5440586" cy="202517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. vers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별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terfac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대응하는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ncre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클래스 생성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(s).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rs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따라 적절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stanc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생성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ransfer, Process, Activate,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Finish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등의 동작 제어</a:t>
            </a: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장점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err="1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SubRxx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class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추가로 새로운 버전 확장에 대해 쉽게 대응</a:t>
            </a: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점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.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새로운 버전 추가 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e.g. R23-11) Factor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코드 변경 필요</a:t>
            </a:r>
            <a:endParaRPr lang="en-US" altLang="ko-KR" sz="1400" dirty="0">
              <a:solidFill>
                <a:srgbClr val="FF000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93" name="텍스트 개체 틀 3"/>
          <p:cNvSpPr txBox="1">
            <a:spLocks/>
          </p:cNvSpPr>
          <p:nvPr/>
        </p:nvSpPr>
        <p:spPr>
          <a:xfrm>
            <a:off x="6152449" y="3605741"/>
            <a:ext cx="5440586" cy="202517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. vers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별 객체 생성 후 </a:t>
            </a:r>
            <a:r>
              <a:rPr lang="en-US" altLang="ko-KR" sz="1400" dirty="0" err="1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totypeRegistry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등록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.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검색되면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rs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따라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gistr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기 생성된 객체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lone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하여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stanc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생성</a:t>
            </a: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장점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stanc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생성 속도 빠름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/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초기화 코드 제거 가능</a:t>
            </a: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점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복잡한 객체 복제는 다소 어려움</a:t>
            </a:r>
            <a:endParaRPr lang="en-US" altLang="ko-KR" sz="1400" dirty="0">
              <a:solidFill>
                <a:srgbClr val="FF000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94" name="텍스트 개체 틀 3"/>
          <p:cNvSpPr txBox="1">
            <a:spLocks/>
          </p:cNvSpPr>
          <p:nvPr/>
        </p:nvSpPr>
        <p:spPr>
          <a:xfrm>
            <a:off x="443894" y="5978780"/>
            <a:ext cx="11418155" cy="7755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ecision : Simple Factory pattern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UCM Sub. vers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이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4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지 종류로 존재하기 때문에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ncrete class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로 대응이 가능하다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* Simple Factory pattern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으로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stance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생성 속도와 </a:t>
            </a:r>
            <a:r>
              <a:rPr lang="en-US" altLang="ko-KR" sz="14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totype pattern </a:t>
            </a:r>
            <a:r>
              <a:rPr lang="ko-KR" altLang="en-US" sz="14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</a:t>
            </a:r>
            <a:r>
              <a:rPr lang="en-US" altLang="ko-KR" sz="14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lone </a:t>
            </a:r>
            <a:r>
              <a:rPr lang="ko-KR" altLang="en-US" sz="14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으로</a:t>
            </a:r>
            <a:r>
              <a:rPr lang="en-US" altLang="ko-KR" sz="14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Instance </a:t>
            </a:r>
            <a:r>
              <a:rPr lang="ko-KR" altLang="en-US" sz="14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생성 속도는 큰 차이가 없음도 확인함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295" name="Picture 2" descr="체크 표시 클립 아트. 무료 다운로드. | Creazilla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4386" y="642060"/>
            <a:ext cx="289283" cy="289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264676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텍스트 개체 틀 3"/>
          <p:cNvSpPr txBox="1">
            <a:spLocks/>
          </p:cNvSpPr>
          <p:nvPr/>
        </p:nvSpPr>
        <p:spPr>
          <a:xfrm>
            <a:off x="438485" y="672117"/>
            <a:ext cx="11418155" cy="16348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marL="0" lvl="0" indent="0">
              <a:lnSpc>
                <a:spcPct val="120000"/>
              </a:lnSpc>
              <a:spcBef>
                <a:spcPct val="50000"/>
              </a:spcBef>
              <a:buNone/>
              <a:defRPr/>
            </a:pP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QA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대한 설계 검증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5. Verification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438485" y="620688"/>
            <a:ext cx="11300618" cy="828092"/>
            <a:chOff x="731404" y="1160748"/>
            <a:chExt cx="11300618" cy="828092"/>
          </a:xfrm>
        </p:grpSpPr>
        <p:sp>
          <p:nvSpPr>
            <p:cNvPr id="6" name="모서리가 둥근 직사각형 5"/>
            <p:cNvSpPr/>
            <p:nvPr/>
          </p:nvSpPr>
          <p:spPr>
            <a:xfrm>
              <a:off x="731404" y="1304763"/>
              <a:ext cx="11300618" cy="684077"/>
            </a:xfrm>
            <a:prstGeom prst="roundRect">
              <a:avLst>
                <a:gd name="adj" fmla="val 6007"/>
              </a:avLst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216000" rIns="144000" bIns="144000" rtlCol="0" anchor="t"/>
            <a:lstStyle/>
            <a:p>
              <a:pPr marL="171450" lvl="0" indent="-1714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LARA Platform </a:t>
              </a:r>
              <a:r>
                <a:rPr lang="ko-KR" alt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의 </a:t>
              </a: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build target </a:t>
              </a:r>
              <a:r>
                <a:rPr lang="ko-KR" alt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중 </a:t>
              </a: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QEMU x86-64 (</a:t>
              </a:r>
              <a:r>
                <a:rPr lang="en-US" sz="1200" dirty="0" err="1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Yocto</a:t>
              </a: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 Linux) </a:t>
              </a:r>
              <a:r>
                <a:rPr lang="ko-KR" alt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에서 검증</a:t>
              </a:r>
              <a:endParaRPr lang="en-US" altLang="ko-KR" sz="12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  <a:p>
              <a:pPr marL="171450" lvl="0" indent="-1714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Prototype executable C++14 </a:t>
              </a:r>
              <a:r>
                <a:rPr lang="ko-KR" alt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기반 구현</a:t>
              </a:r>
              <a:endParaRPr lang="en-US" altLang="ko-KR" sz="12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sp>
          <p:nvSpPr>
            <p:cNvPr id="7" name="모서리가 둥근 직사각형 6"/>
            <p:cNvSpPr/>
            <p:nvPr/>
          </p:nvSpPr>
          <p:spPr>
            <a:xfrm>
              <a:off x="875420" y="1160748"/>
              <a:ext cx="914400" cy="288032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rtlCol="0" anchor="ctr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  <a:cs typeface="Arial" panose="020B0604020202020204" pitchFamily="34" charset="0"/>
                </a:rPr>
                <a:t>검증 환경</a:t>
              </a:r>
              <a:endParaRPr lang="en-US" sz="1200" dirty="0"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</p:grpSp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3536598"/>
              </p:ext>
            </p:extLst>
          </p:nvPr>
        </p:nvGraphicFramePr>
        <p:xfrm>
          <a:off x="721879" y="1880828"/>
          <a:ext cx="11017224" cy="48463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4156">
                  <a:extLst>
                    <a:ext uri="{9D8B030D-6E8A-4147-A177-3AD203B41FA5}">
                      <a16:colId xmlns:a16="http://schemas.microsoft.com/office/drawing/2014/main" val="3233048647"/>
                    </a:ext>
                  </a:extLst>
                </a:gridCol>
                <a:gridCol w="4041973">
                  <a:extLst>
                    <a:ext uri="{9D8B030D-6E8A-4147-A177-3AD203B41FA5}">
                      <a16:colId xmlns:a16="http://schemas.microsoft.com/office/drawing/2014/main" val="901065036"/>
                    </a:ext>
                  </a:extLst>
                </a:gridCol>
                <a:gridCol w="5571095">
                  <a:extLst>
                    <a:ext uri="{9D8B030D-6E8A-4147-A177-3AD203B41FA5}">
                      <a16:colId xmlns:a16="http://schemas.microsoft.com/office/drawing/2014/main" val="359708873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.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ID</a:t>
                      </a:r>
                      <a:b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QA Category)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rifica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682054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1</a:t>
                      </a:r>
                    </a:p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Security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Packag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및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Packag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무결성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ecision : Crypto Daemon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re-Installed Key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로 무결성 확인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검증 내용</a:t>
                      </a:r>
                      <a:b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rypto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Daemon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re-Installed Key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이용해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ignature Verification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수행</a:t>
                      </a:r>
                      <a:b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-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정상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Package,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정상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HENTICATION TAG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  <a:t> Verification Pass</a:t>
                      </a:r>
                      <a:b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</a:b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  <a:t>정상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  <a:t>Vehicle Package / AUTHENTICATION TAG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  <a:t>변조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  <a:t>  Verification Fail</a:t>
                      </a:r>
                      <a:b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</a:b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  <a:t>- Vehicle Package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  <a:t>변조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  <a:t> /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  <a:t>정상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  <a:t>AUTHENTICATION TAG  Verification Fail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407957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3</a:t>
                      </a:r>
                    </a:p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Performance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소요 시간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ecision : Thread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Worker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이용한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Package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동시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전송</a:t>
                      </a:r>
                      <a:endParaRPr lang="en-US" altLang="ko-KR" sz="1200" baseline="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검증 내용</a:t>
                      </a:r>
                      <a:b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전송해야 하는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Package 4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개에 대하여</a:t>
                      </a:r>
                      <a:b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- Thread Worker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개수 제한 없이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Package(s)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전송 시 </a:t>
                      </a:r>
                      <a:b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  3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개 동시 전송 시부터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PU Load 30%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초과 확인</a:t>
                      </a:r>
                      <a:b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- Thread Worker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개수를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2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개로 제한 후 전송 시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PU Load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약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27%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점유</a:t>
                      </a:r>
                      <a:b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  Software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전송 및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rocess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까지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1MB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당 약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4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분</a:t>
                      </a:r>
                      <a:b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>
                          <a:solidFill>
                            <a:srgbClr val="00B050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* </a:t>
                      </a:r>
                      <a:r>
                        <a:rPr lang="ko-KR" altLang="en-US" sz="1200" baseline="0" dirty="0">
                          <a:solidFill>
                            <a:srgbClr val="00B050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실제 </a:t>
                      </a:r>
                      <a:r>
                        <a:rPr lang="en-US" altLang="ko-KR" sz="1200" baseline="0" dirty="0">
                          <a:solidFill>
                            <a:srgbClr val="00B050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arget </a:t>
                      </a:r>
                      <a:r>
                        <a:rPr lang="ko-KR" altLang="en-US" sz="1200" baseline="0" dirty="0">
                          <a:solidFill>
                            <a:srgbClr val="00B050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에서 추가 확인 필요</a:t>
                      </a:r>
                      <a:endParaRPr lang="en-US" sz="1200" dirty="0">
                        <a:solidFill>
                          <a:srgbClr val="00B050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8230788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5</a:t>
                      </a:r>
                    </a:p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Availability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결함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탐지 및 복구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ecision : PHM Modul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을 이용한 결함 탐지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Heartbeat)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및 복구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</a:t>
                      </a:r>
                      <a:r>
                        <a:rPr lang="ko-KR" altLang="en-US" sz="1200" dirty="0" err="1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재시작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)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검증 내용</a:t>
                      </a:r>
                      <a:b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 err="1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latformHealthManagerImpl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interface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로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Heartbeat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통신 확인 완료</a:t>
                      </a:r>
                      <a:b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IGTERM, SIGKILL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로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Termination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시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4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초 이내 복구 완료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0768678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7</a:t>
                      </a:r>
                    </a:p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Extensibility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teraction between newly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installed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UCM Subordinate</a:t>
                      </a:r>
                    </a:p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Without recompiling or reconfiguration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of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ecision : Simple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Factory Pattern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적용</a:t>
                      </a:r>
                      <a:endParaRPr lang="en-US" altLang="ko-KR" sz="1200" baseline="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검증 내용</a:t>
                      </a:r>
                      <a:b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가 설치되지 않은 다른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QEMU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에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Subordinate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시작 시</a:t>
                      </a:r>
                      <a:b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가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Subordinate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버전에 따라 객체 생성 및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teraction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확인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397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8098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2344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tatic View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6.1 Architectural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Representation</a:t>
            </a: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Static View</a:t>
            </a:r>
          </a:p>
        </p:txBody>
      </p:sp>
      <p:graphicFrame>
        <p:nvGraphicFramePr>
          <p:cNvPr id="36" name="표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8494451"/>
              </p:ext>
            </p:extLst>
          </p:nvPr>
        </p:nvGraphicFramePr>
        <p:xfrm>
          <a:off x="695400" y="3465004"/>
          <a:ext cx="11017224" cy="28346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4156">
                  <a:extLst>
                    <a:ext uri="{9D8B030D-6E8A-4147-A177-3AD203B41FA5}">
                      <a16:colId xmlns:a16="http://schemas.microsoft.com/office/drawing/2014/main" val="1197659203"/>
                    </a:ext>
                  </a:extLst>
                </a:gridCol>
                <a:gridCol w="6336704">
                  <a:extLst>
                    <a:ext uri="{9D8B030D-6E8A-4147-A177-3AD203B41FA5}">
                      <a16:colId xmlns:a16="http://schemas.microsoft.com/office/drawing/2014/main" val="2602705436"/>
                    </a:ext>
                  </a:extLst>
                </a:gridCol>
                <a:gridCol w="3276364">
                  <a:extLst>
                    <a:ext uri="{9D8B030D-6E8A-4147-A177-3AD203B41FA5}">
                      <a16:colId xmlns:a16="http://schemas.microsoft.com/office/drawing/2014/main" val="1629548476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Modul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lated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SRS ID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2402582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err="1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Package</a:t>
                      </a:r>
                      <a:b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sz="1200" dirty="0" err="1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ManagerApp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각종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terface implementation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(</a:t>
                      </a:r>
                      <a:r>
                        <a:rPr lang="en-US" altLang="ko-KR" sz="1200" baseline="0" dirty="0" err="1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PackageManagement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 VDAI, VSM, PHM)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core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기능 수행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1/02/05/06/07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6971679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FSM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state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관리 및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Notify to OTA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lient, Vehicle Driver App, Vehicle State Manager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7</a:t>
                      </a:r>
                    </a:p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5/06 (availability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0588773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ubordinate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내 존재하는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Subordinate(s)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와의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teraction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1/02/03</a:t>
                      </a:r>
                    </a:p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7 (extensibility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603300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arsing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Package / Software Package MANIFEST Parsing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8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3208223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err="1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ampaignSteps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MANIFEST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parsing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결과에 따라 전체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orchestration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5/08</a:t>
                      </a:r>
                      <a:b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3/04 (performance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952858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err="1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Libs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rypto Interface, Package Extractor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제공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4</a:t>
                      </a:r>
                      <a:b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1/02 (security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436110"/>
                  </a:ext>
                </a:extLst>
              </a:tr>
            </a:tbl>
          </a:graphicData>
        </a:graphic>
      </p:graphicFrame>
      <p:grpSp>
        <p:nvGrpSpPr>
          <p:cNvPr id="37" name="그룹 36"/>
          <p:cNvGrpSpPr/>
          <p:nvPr/>
        </p:nvGrpSpPr>
        <p:grpSpPr>
          <a:xfrm>
            <a:off x="696224" y="980728"/>
            <a:ext cx="10656360" cy="2193891"/>
            <a:chOff x="0" y="1855028"/>
            <a:chExt cx="10922000" cy="2248579"/>
          </a:xfrm>
        </p:grpSpPr>
        <p:grpSp>
          <p:nvGrpSpPr>
            <p:cNvPr id="38" name="그룹 37"/>
            <p:cNvGrpSpPr/>
            <p:nvPr/>
          </p:nvGrpSpPr>
          <p:grpSpPr>
            <a:xfrm>
              <a:off x="0" y="1855028"/>
              <a:ext cx="8605732" cy="2244837"/>
              <a:chOff x="0" y="1855028"/>
              <a:chExt cx="8605732" cy="2244837"/>
            </a:xfrm>
          </p:grpSpPr>
          <p:sp>
            <p:nvSpPr>
              <p:cNvPr id="45" name="직사각형 44"/>
              <p:cNvSpPr/>
              <p:nvPr/>
            </p:nvSpPr>
            <p:spPr>
              <a:xfrm>
                <a:off x="0" y="1855028"/>
                <a:ext cx="1800000" cy="216000"/>
              </a:xfrm>
              <a:prstGeom prst="rect">
                <a:avLst/>
              </a:prstGeom>
              <a:solidFill>
                <a:srgbClr val="F7ECE1"/>
              </a:solidFill>
              <a:ln w="12700">
                <a:solidFill>
                  <a:srgbClr val="AD989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000" dirty="0" err="1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rPr>
                  <a:t>UCMMaster</a:t>
                </a:r>
                <a:endParaRPr lang="en-US" sz="1000" dirty="0">
                  <a:solidFill>
                    <a:schemeClr val="tx1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endParaRPr>
              </a:p>
            </p:txBody>
          </p:sp>
          <p:sp>
            <p:nvSpPr>
              <p:cNvPr id="46" name="직사각형 45"/>
              <p:cNvSpPr/>
              <p:nvPr/>
            </p:nvSpPr>
            <p:spPr>
              <a:xfrm>
                <a:off x="0" y="2066051"/>
                <a:ext cx="8605732" cy="2033814"/>
              </a:xfrm>
              <a:prstGeom prst="rect">
                <a:avLst/>
              </a:prstGeom>
              <a:solidFill>
                <a:srgbClr val="F7ECE1"/>
              </a:solidFill>
              <a:ln w="12700">
                <a:solidFill>
                  <a:srgbClr val="AD989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endParaRPr>
              </a:p>
            </p:txBody>
          </p:sp>
          <p:grpSp>
            <p:nvGrpSpPr>
              <p:cNvPr id="47" name="그룹 46"/>
              <p:cNvGrpSpPr/>
              <p:nvPr/>
            </p:nvGrpSpPr>
            <p:grpSpPr>
              <a:xfrm>
                <a:off x="176903" y="3279127"/>
                <a:ext cx="2313459" cy="643024"/>
                <a:chOff x="268756" y="3877563"/>
                <a:chExt cx="2313459" cy="643024"/>
              </a:xfrm>
            </p:grpSpPr>
            <p:sp>
              <p:nvSpPr>
                <p:cNvPr id="63" name="직사각형 62"/>
                <p:cNvSpPr/>
                <p:nvPr/>
              </p:nvSpPr>
              <p:spPr>
                <a:xfrm>
                  <a:off x="268756" y="3877563"/>
                  <a:ext cx="1800000" cy="216000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sz="1000" dirty="0" err="1">
                      <a:solidFill>
                        <a:schemeClr val="tx1"/>
                      </a:solidFill>
                      <a:latin typeface="LG Smart UI SemiBold" panose="020B0700000101010101" pitchFamily="50" charset="-127"/>
                      <a:ea typeface="LG Smart UI SemiBold" panose="020B0700000101010101" pitchFamily="50" charset="-127"/>
                    </a:rPr>
                    <a:t>CampaignSteps</a:t>
                  </a:r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  <p:sp>
              <p:nvSpPr>
                <p:cNvPr id="64" name="직사각형 63"/>
                <p:cNvSpPr/>
                <p:nvPr/>
              </p:nvSpPr>
              <p:spPr>
                <a:xfrm>
                  <a:off x="268757" y="4093563"/>
                  <a:ext cx="2313458" cy="427024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</p:grpSp>
          <p:grpSp>
            <p:nvGrpSpPr>
              <p:cNvPr id="48" name="그룹 47"/>
              <p:cNvGrpSpPr/>
              <p:nvPr/>
            </p:nvGrpSpPr>
            <p:grpSpPr>
              <a:xfrm>
                <a:off x="178635" y="2286067"/>
                <a:ext cx="2313459" cy="643024"/>
                <a:chOff x="268756" y="3877563"/>
                <a:chExt cx="2313459" cy="643024"/>
              </a:xfrm>
            </p:grpSpPr>
            <p:sp>
              <p:nvSpPr>
                <p:cNvPr id="61" name="직사각형 60"/>
                <p:cNvSpPr/>
                <p:nvPr/>
              </p:nvSpPr>
              <p:spPr>
                <a:xfrm>
                  <a:off x="268756" y="3877563"/>
                  <a:ext cx="1800000" cy="216000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sz="1000" dirty="0" err="1">
                      <a:solidFill>
                        <a:prstClr val="black"/>
                      </a:solidFill>
                      <a:latin typeface="LG Smart UI SemiBold" panose="020B0700000101010101" pitchFamily="50" charset="-127"/>
                      <a:ea typeface="LG Smart UI SemiBold" panose="020B0700000101010101" pitchFamily="50" charset="-127"/>
                    </a:rPr>
                    <a:t>VehiclePackageManagerApp</a:t>
                  </a:r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  <p:sp>
              <p:nvSpPr>
                <p:cNvPr id="62" name="직사각형 61"/>
                <p:cNvSpPr/>
                <p:nvPr/>
              </p:nvSpPr>
              <p:spPr>
                <a:xfrm>
                  <a:off x="268757" y="4093563"/>
                  <a:ext cx="2313458" cy="427024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</p:grpSp>
          <p:grpSp>
            <p:nvGrpSpPr>
              <p:cNvPr id="49" name="그룹 48"/>
              <p:cNvGrpSpPr/>
              <p:nvPr/>
            </p:nvGrpSpPr>
            <p:grpSpPr>
              <a:xfrm>
                <a:off x="6113639" y="2286068"/>
                <a:ext cx="2313459" cy="643023"/>
                <a:chOff x="6205492" y="1884013"/>
                <a:chExt cx="2313459" cy="643023"/>
              </a:xfrm>
            </p:grpSpPr>
            <p:sp>
              <p:nvSpPr>
                <p:cNvPr id="59" name="직사각형 58"/>
                <p:cNvSpPr/>
                <p:nvPr/>
              </p:nvSpPr>
              <p:spPr>
                <a:xfrm>
                  <a:off x="6205492" y="1884013"/>
                  <a:ext cx="1800000" cy="216000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sz="1000" dirty="0">
                      <a:solidFill>
                        <a:prstClr val="black"/>
                      </a:solidFill>
                      <a:latin typeface="LG Smart UI SemiBold" panose="020B0700000101010101" pitchFamily="50" charset="-127"/>
                      <a:ea typeface="LG Smart UI SemiBold" panose="020B0700000101010101" pitchFamily="50" charset="-127"/>
                    </a:rPr>
                    <a:t>Subordinates</a:t>
                  </a:r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  <p:sp>
              <p:nvSpPr>
                <p:cNvPr id="60" name="직사각형 59"/>
                <p:cNvSpPr/>
                <p:nvPr/>
              </p:nvSpPr>
              <p:spPr>
                <a:xfrm>
                  <a:off x="6205493" y="2100012"/>
                  <a:ext cx="2313458" cy="427024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</p:grpSp>
          <p:grpSp>
            <p:nvGrpSpPr>
              <p:cNvPr id="50" name="그룹 49"/>
              <p:cNvGrpSpPr/>
              <p:nvPr/>
            </p:nvGrpSpPr>
            <p:grpSpPr>
              <a:xfrm>
                <a:off x="3146137" y="3279127"/>
                <a:ext cx="2313459" cy="643024"/>
                <a:chOff x="268756" y="3877563"/>
                <a:chExt cx="2313459" cy="643024"/>
              </a:xfrm>
            </p:grpSpPr>
            <p:sp>
              <p:nvSpPr>
                <p:cNvPr id="57" name="직사각형 56"/>
                <p:cNvSpPr/>
                <p:nvPr/>
              </p:nvSpPr>
              <p:spPr>
                <a:xfrm>
                  <a:off x="268756" y="3877563"/>
                  <a:ext cx="1800000" cy="216000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sz="1000" dirty="0">
                      <a:solidFill>
                        <a:schemeClr val="tx1"/>
                      </a:solidFill>
                      <a:latin typeface="LG Smart UI SemiBold" panose="020B0700000101010101" pitchFamily="50" charset="-127"/>
                      <a:ea typeface="LG Smart UI SemiBold" panose="020B0700000101010101" pitchFamily="50" charset="-127"/>
                    </a:rPr>
                    <a:t>FSM</a:t>
                  </a:r>
                </a:p>
              </p:txBody>
            </p:sp>
            <p:sp>
              <p:nvSpPr>
                <p:cNvPr id="58" name="직사각형 57"/>
                <p:cNvSpPr/>
                <p:nvPr/>
              </p:nvSpPr>
              <p:spPr>
                <a:xfrm>
                  <a:off x="268757" y="4093563"/>
                  <a:ext cx="2313458" cy="427024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</p:grpSp>
          <p:grpSp>
            <p:nvGrpSpPr>
              <p:cNvPr id="51" name="그룹 50"/>
              <p:cNvGrpSpPr/>
              <p:nvPr/>
            </p:nvGrpSpPr>
            <p:grpSpPr>
              <a:xfrm>
                <a:off x="3146137" y="2286067"/>
                <a:ext cx="2313459" cy="643024"/>
                <a:chOff x="268756" y="3877563"/>
                <a:chExt cx="2313459" cy="643024"/>
              </a:xfrm>
            </p:grpSpPr>
            <p:sp>
              <p:nvSpPr>
                <p:cNvPr id="55" name="직사각형 54"/>
                <p:cNvSpPr/>
                <p:nvPr/>
              </p:nvSpPr>
              <p:spPr>
                <a:xfrm>
                  <a:off x="268756" y="3877563"/>
                  <a:ext cx="1800000" cy="216000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sz="1000" dirty="0" err="1">
                      <a:solidFill>
                        <a:prstClr val="black"/>
                      </a:solidFill>
                      <a:latin typeface="LG Smart UI SemiBold" panose="020B0700000101010101" pitchFamily="50" charset="-127"/>
                      <a:ea typeface="LG Smart UI SemiBold" panose="020B0700000101010101" pitchFamily="50" charset="-127"/>
                    </a:rPr>
                    <a:t>UCMLibs</a:t>
                  </a:r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  <p:sp>
              <p:nvSpPr>
                <p:cNvPr id="56" name="직사각형 55"/>
                <p:cNvSpPr/>
                <p:nvPr/>
              </p:nvSpPr>
              <p:spPr>
                <a:xfrm>
                  <a:off x="268757" y="4093563"/>
                  <a:ext cx="2313458" cy="427024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</p:grpSp>
          <p:grpSp>
            <p:nvGrpSpPr>
              <p:cNvPr id="52" name="그룹 51"/>
              <p:cNvGrpSpPr/>
              <p:nvPr/>
            </p:nvGrpSpPr>
            <p:grpSpPr>
              <a:xfrm>
                <a:off x="6115371" y="3279127"/>
                <a:ext cx="2313459" cy="643024"/>
                <a:chOff x="268756" y="3877563"/>
                <a:chExt cx="2313459" cy="643024"/>
              </a:xfrm>
            </p:grpSpPr>
            <p:sp>
              <p:nvSpPr>
                <p:cNvPr id="53" name="직사각형 52"/>
                <p:cNvSpPr/>
                <p:nvPr/>
              </p:nvSpPr>
              <p:spPr>
                <a:xfrm>
                  <a:off x="268756" y="3877563"/>
                  <a:ext cx="1800000" cy="216000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sz="1000" dirty="0">
                      <a:solidFill>
                        <a:prstClr val="black"/>
                      </a:solidFill>
                      <a:latin typeface="LG Smart UI SemiBold" panose="020B0700000101010101" pitchFamily="50" charset="-127"/>
                      <a:ea typeface="LG Smart UI SemiBold" panose="020B0700000101010101" pitchFamily="50" charset="-127"/>
                    </a:rPr>
                    <a:t>Parsing</a:t>
                  </a:r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  <p:sp>
              <p:nvSpPr>
                <p:cNvPr id="54" name="직사각형 53"/>
                <p:cNvSpPr/>
                <p:nvPr/>
              </p:nvSpPr>
              <p:spPr>
                <a:xfrm>
                  <a:off x="268757" y="4093563"/>
                  <a:ext cx="2313458" cy="427024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</p:grpSp>
        </p:grpSp>
        <p:grpSp>
          <p:nvGrpSpPr>
            <p:cNvPr id="39" name="그룹 38"/>
            <p:cNvGrpSpPr/>
            <p:nvPr/>
          </p:nvGrpSpPr>
          <p:grpSpPr>
            <a:xfrm>
              <a:off x="8782635" y="3226045"/>
              <a:ext cx="2139365" cy="877562"/>
              <a:chOff x="8782635" y="3222154"/>
              <a:chExt cx="2139365" cy="885998"/>
            </a:xfrm>
          </p:grpSpPr>
          <p:sp>
            <p:nvSpPr>
              <p:cNvPr id="40" name="직사각형 39">
                <a:extLst>
                  <a:ext uri="{FF2B5EF4-FFF2-40B4-BE49-F238E27FC236}">
                    <a16:creationId xmlns:a16="http://schemas.microsoft.com/office/drawing/2014/main" id="{563D3819-47AB-AFDA-3922-6AFCE3C612DA}"/>
                  </a:ext>
                </a:extLst>
              </p:cNvPr>
              <p:cNvSpPr/>
              <p:nvPr/>
            </p:nvSpPr>
            <p:spPr>
              <a:xfrm>
                <a:off x="8782635" y="3222154"/>
                <a:ext cx="2139365" cy="871475"/>
              </a:xfrm>
              <a:prstGeom prst="rect">
                <a:avLst/>
              </a:prstGeom>
              <a:noFill/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defTabSz="914400" eaLnBrk="1" fontAlgn="auto" latinLnBrk="1" hangingPunct="1">
                  <a:lnSpc>
                    <a:spcPct val="12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Key</a:t>
                </a:r>
              </a:p>
            </p:txBody>
          </p:sp>
          <p:sp>
            <p:nvSpPr>
              <p:cNvPr id="41" name="직사각형 40"/>
              <p:cNvSpPr/>
              <p:nvPr/>
            </p:nvSpPr>
            <p:spPr>
              <a:xfrm>
                <a:off x="9625424" y="3554154"/>
                <a:ext cx="1289135" cy="55399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ko-KR" sz="1000" kern="0" dirty="0">
                    <a:solidFill>
                      <a:prstClr val="black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rPr>
                  <a:t>Package</a:t>
                </a:r>
                <a:br>
                  <a:rPr lang="en-US" altLang="ko-KR" sz="1000" kern="0" dirty="0">
                    <a:solidFill>
                      <a:prstClr val="black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rPr>
                </a:br>
                <a:r>
                  <a:rPr lang="en-US" altLang="ko-KR" sz="1000" kern="0" dirty="0">
                    <a:solidFill>
                      <a:prstClr val="black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rPr>
                  <a:t>- Set of Modules or</a:t>
                </a:r>
                <a:br>
                  <a:rPr lang="en-US" altLang="ko-KR" sz="1000" kern="0" dirty="0">
                    <a:solidFill>
                      <a:prstClr val="black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rPr>
                </a:br>
                <a:r>
                  <a:rPr lang="en-US" altLang="ko-KR" sz="1000" kern="0" dirty="0">
                    <a:solidFill>
                      <a:prstClr val="black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rPr>
                  <a:t>- Packages</a:t>
                </a:r>
                <a:endParaRPr lang="en-US" dirty="0"/>
              </a:p>
            </p:txBody>
          </p:sp>
          <p:grpSp>
            <p:nvGrpSpPr>
              <p:cNvPr id="42" name="그룹 41"/>
              <p:cNvGrpSpPr/>
              <p:nvPr/>
            </p:nvGrpSpPr>
            <p:grpSpPr>
              <a:xfrm>
                <a:off x="8905424" y="3651165"/>
                <a:ext cx="720000" cy="360001"/>
                <a:chOff x="9986081" y="1587961"/>
                <a:chExt cx="720000" cy="360001"/>
              </a:xfrm>
            </p:grpSpPr>
            <p:sp>
              <p:nvSpPr>
                <p:cNvPr id="43" name="직사각형 42"/>
                <p:cNvSpPr/>
                <p:nvPr/>
              </p:nvSpPr>
              <p:spPr>
                <a:xfrm>
                  <a:off x="9986081" y="1587961"/>
                  <a:ext cx="360000" cy="180000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  <p:sp>
              <p:nvSpPr>
                <p:cNvPr id="44" name="직사각형 43"/>
                <p:cNvSpPr/>
                <p:nvPr/>
              </p:nvSpPr>
              <p:spPr>
                <a:xfrm>
                  <a:off x="9986081" y="1767961"/>
                  <a:ext cx="720000" cy="180001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236371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2344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ecomposition of Static View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65887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6.1 Architectural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Representation</a:t>
            </a: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Static View (Decomposition)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404" y="944724"/>
            <a:ext cx="8244916" cy="5753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27485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54291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err="1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secase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) Backend Serv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통하여 무선으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Update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  -&gt;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일반적인 소프트웨어 업데이트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자동차 정비소에서 </a:t>
            </a:r>
            <a:r>
              <a:rPr lang="ko-KR" altLang="en-US" sz="1400" dirty="0" err="1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진단기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Diagnostic Tester Tool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통하여 유선으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Update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  -&gt;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정기 검진 또는 자동차 고장에 의한 소프트웨어 업데이트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6</a:t>
            </a: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.2 Architectural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Representation</a:t>
            </a: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Dynamic View</a:t>
            </a:r>
          </a:p>
        </p:txBody>
      </p:sp>
      <p:grpSp>
        <p:nvGrpSpPr>
          <p:cNvPr id="44" name="그룹 43">
            <a:extLst>
              <a:ext uri="{FF2B5EF4-FFF2-40B4-BE49-F238E27FC236}">
                <a16:creationId xmlns:a16="http://schemas.microsoft.com/office/drawing/2014/main" id="{FF831844-F404-542E-4E3D-372E41EA44E3}"/>
              </a:ext>
            </a:extLst>
          </p:cNvPr>
          <p:cNvGrpSpPr/>
          <p:nvPr/>
        </p:nvGrpSpPr>
        <p:grpSpPr>
          <a:xfrm>
            <a:off x="8849743" y="4400693"/>
            <a:ext cx="2970893" cy="1339945"/>
            <a:chOff x="432707" y="5172335"/>
            <a:chExt cx="2970893" cy="1339945"/>
          </a:xfrm>
        </p:grpSpPr>
        <p:sp>
          <p:nvSpPr>
            <p:cNvPr id="45" name="직사각형 44">
              <a:extLst>
                <a:ext uri="{FF2B5EF4-FFF2-40B4-BE49-F238E27FC236}">
                  <a16:creationId xmlns:a16="http://schemas.microsoft.com/office/drawing/2014/main" id="{F4D0266C-7BF1-04E7-6E17-C87CE3B5157A}"/>
                </a:ext>
              </a:extLst>
            </p:cNvPr>
            <p:cNvSpPr/>
            <p:nvPr/>
          </p:nvSpPr>
          <p:spPr>
            <a:xfrm>
              <a:off x="432707" y="5172335"/>
              <a:ext cx="2970893" cy="1339945"/>
            </a:xfrm>
            <a:prstGeom prst="rect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Key</a:t>
              </a:r>
            </a:p>
            <a:p>
              <a:pPr marL="0" marR="0" lvl="0" indent="0" defTabSz="914400" eaLnBrk="1" fontAlgn="auto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             Adaptive AUTOSAR Functional Cluster</a:t>
              </a:r>
            </a:p>
            <a:p>
              <a:pPr marL="0" marR="0" lvl="0" indent="0" defTabSz="914400" eaLnBrk="1" fontAlgn="auto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             Adaptive AUTOSAR Application</a:t>
              </a:r>
            </a:p>
            <a:p>
              <a:pPr marL="0" marR="0" lvl="0" indent="0" defTabSz="914400" eaLnBrk="1" fontAlgn="auto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             Vehicle communication channel</a:t>
              </a:r>
            </a:p>
            <a:p>
              <a:pPr marL="0" marR="0" lvl="0" indent="0" defTabSz="914400" eaLnBrk="1" fontAlgn="auto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             Data flow</a:t>
              </a:r>
            </a:p>
          </p:txBody>
        </p:sp>
        <p:sp>
          <p:nvSpPr>
            <p:cNvPr id="46" name="직사각형 45">
              <a:extLst>
                <a:ext uri="{FF2B5EF4-FFF2-40B4-BE49-F238E27FC236}">
                  <a16:creationId xmlns:a16="http://schemas.microsoft.com/office/drawing/2014/main" id="{A1CF295E-6B3F-2766-45CA-F09B50CFCE7C}"/>
                </a:ext>
              </a:extLst>
            </p:cNvPr>
            <p:cNvSpPr/>
            <p:nvPr/>
          </p:nvSpPr>
          <p:spPr>
            <a:xfrm>
              <a:off x="549729" y="5505033"/>
              <a:ext cx="345621" cy="157066"/>
            </a:xfrm>
            <a:prstGeom prst="rect">
              <a:avLst/>
            </a:prstGeom>
            <a:gradFill rotWithShape="1">
              <a:gsLst>
                <a:gs pos="0">
                  <a:srgbClr val="ED7D31">
                    <a:lumMod val="110000"/>
                    <a:satMod val="105000"/>
                    <a:tint val="67000"/>
                  </a:srgbClr>
                </a:gs>
                <a:gs pos="50000">
                  <a:srgbClr val="ED7D31">
                    <a:lumMod val="105000"/>
                    <a:satMod val="103000"/>
                    <a:tint val="73000"/>
                  </a:srgbClr>
                </a:gs>
                <a:gs pos="100000">
                  <a:srgbClr val="ED7D31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cxnSp>
          <p:nvCxnSpPr>
            <p:cNvPr id="47" name="직선 연결선 46">
              <a:extLst>
                <a:ext uri="{FF2B5EF4-FFF2-40B4-BE49-F238E27FC236}">
                  <a16:creationId xmlns:a16="http://schemas.microsoft.com/office/drawing/2014/main" id="{6AC133DC-B6ED-23B2-A848-72A04A0DD806}"/>
                </a:ext>
              </a:extLst>
            </p:cNvPr>
            <p:cNvCxnSpPr>
              <a:cxnSpLocks/>
            </p:cNvCxnSpPr>
            <p:nvPr/>
          </p:nvCxnSpPr>
          <p:spPr>
            <a:xfrm>
              <a:off x="547289" y="6327852"/>
              <a:ext cx="348061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A2F3B4E0-87BF-47F7-462E-6B168BF2BA16}"/>
                </a:ext>
              </a:extLst>
            </p:cNvPr>
            <p:cNvSpPr/>
            <p:nvPr/>
          </p:nvSpPr>
          <p:spPr>
            <a:xfrm>
              <a:off x="549729" y="5759148"/>
              <a:ext cx="345621" cy="153065"/>
            </a:xfrm>
            <a:prstGeom prst="rect">
              <a:avLst/>
            </a:prstGeom>
            <a:solidFill>
              <a:srgbClr val="70AD47"/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49" name="직사각형 48">
              <a:extLst>
                <a:ext uri="{FF2B5EF4-FFF2-40B4-BE49-F238E27FC236}">
                  <a16:creationId xmlns:a16="http://schemas.microsoft.com/office/drawing/2014/main" id="{4692314E-2B78-609F-5B44-E093101FB1A7}"/>
                </a:ext>
              </a:extLst>
            </p:cNvPr>
            <p:cNvSpPr/>
            <p:nvPr/>
          </p:nvSpPr>
          <p:spPr>
            <a:xfrm>
              <a:off x="697119" y="6009262"/>
              <a:ext cx="198231" cy="164390"/>
            </a:xfrm>
            <a:prstGeom prst="rect">
              <a:avLst/>
            </a:prstGeom>
            <a:solidFill>
              <a:srgbClr val="FFC000"/>
            </a:solidFill>
            <a:ln w="12700" cap="flat" cmpd="sng" algn="ctr">
              <a:solidFill>
                <a:srgbClr val="FFC000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</p:grpSp>
      <p:pic>
        <p:nvPicPr>
          <p:cNvPr id="86" name="그림 8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485" y="980729"/>
            <a:ext cx="5517968" cy="3345775"/>
          </a:xfrm>
          <a:prstGeom prst="rect">
            <a:avLst/>
          </a:prstGeom>
        </p:spPr>
      </p:pic>
      <p:pic>
        <p:nvPicPr>
          <p:cNvPr id="106" name="그림 10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2668" y="980729"/>
            <a:ext cx="5517968" cy="334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3683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1. Project Overview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Ideation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sp>
        <p:nvSpPr>
          <p:cNvPr id="35" name="텍스트 개체 틀 3"/>
          <p:cNvSpPr txBox="1">
            <a:spLocks/>
          </p:cNvSpPr>
          <p:nvPr/>
        </p:nvSpPr>
        <p:spPr>
          <a:xfrm>
            <a:off x="438485" y="672117"/>
            <a:ext cx="11418155" cy="206825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학생 시절 나의 고민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교수님께서 강의실 내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C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소프트웨어 업데이트를 하라고 시키셨는데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…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언제 다 하고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집에 갈 수 있을까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?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) PC 1EA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업데이트 시 소요시간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5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분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교실 내 모든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C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개수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50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대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총 예상 소요 시간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250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분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…</a:t>
            </a:r>
          </a:p>
        </p:txBody>
      </p:sp>
      <p:grpSp>
        <p:nvGrpSpPr>
          <p:cNvPr id="16" name="그룹 15"/>
          <p:cNvGrpSpPr/>
          <p:nvPr/>
        </p:nvGrpSpPr>
        <p:grpSpPr>
          <a:xfrm>
            <a:off x="6492044" y="584684"/>
            <a:ext cx="4908216" cy="2584191"/>
            <a:chOff x="5004208" y="584684"/>
            <a:chExt cx="4908216" cy="2584191"/>
          </a:xfrm>
        </p:grpSpPr>
        <p:pic>
          <p:nvPicPr>
            <p:cNvPr id="3090" name="Picture 18" descr="90+ Free Memory Stick &amp; Usb Images - Pixabay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6100" y="1889470"/>
              <a:ext cx="369359" cy="2573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4" name="Picture 22" descr="1,700+ Man Sitting In Chair In Suit Illustrations, Royalty-Free Vector  Graphics &amp; Clip Art - iStock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555" t="8577" r="22181" b="3719"/>
            <a:stretch/>
          </p:blipFill>
          <p:spPr bwMode="auto">
            <a:xfrm>
              <a:off x="5810960" y="1124745"/>
              <a:ext cx="1194810" cy="20441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8" name="Picture 26" descr="Premium Vector | Vintage clock black and white illustration"/>
            <p:cNvPicPr>
              <a:picLocks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04208" y="584684"/>
              <a:ext cx="762000" cy="76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모서리가 둥근 직사각형 29"/>
            <p:cNvSpPr/>
            <p:nvPr/>
          </p:nvSpPr>
          <p:spPr>
            <a:xfrm>
              <a:off x="7755561" y="1797853"/>
              <a:ext cx="2156863" cy="440574"/>
            </a:xfrm>
            <a:prstGeom prst="roundRect">
              <a:avLst>
                <a:gd name="adj" fmla="val 6007"/>
              </a:avLst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2000-12-25 Internal Patch</a:t>
              </a:r>
            </a:p>
          </p:txBody>
        </p:sp>
        <p:cxnSp>
          <p:nvCxnSpPr>
            <p:cNvPr id="15" name="직선 연결선 14"/>
            <p:cNvCxnSpPr>
              <a:stCxn id="30" idx="1"/>
              <a:endCxn id="3090" idx="3"/>
            </p:cNvCxnSpPr>
            <p:nvPr/>
          </p:nvCxnSpPr>
          <p:spPr>
            <a:xfrm flipH="1">
              <a:off x="7365459" y="2018140"/>
              <a:ext cx="390102" cy="0"/>
            </a:xfrm>
            <a:prstGeom prst="line">
              <a:avLst/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19" name="그룹 18"/>
          <p:cNvGrpSpPr/>
          <p:nvPr/>
        </p:nvGrpSpPr>
        <p:grpSpPr>
          <a:xfrm>
            <a:off x="587387" y="3281873"/>
            <a:ext cx="3132349" cy="3360729"/>
            <a:chOff x="587387" y="3317157"/>
            <a:chExt cx="3132349" cy="3360729"/>
          </a:xfrm>
        </p:grpSpPr>
        <p:pic>
          <p:nvPicPr>
            <p:cNvPr id="20" name="Picture 12" descr="Isometric computer lab. Computer education in classroom. Computer classroom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175" r="12246"/>
            <a:stretch/>
          </p:blipFill>
          <p:spPr bwMode="auto">
            <a:xfrm>
              <a:off x="587387" y="3317157"/>
              <a:ext cx="3132349" cy="2657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모서리가 둥근 직사각형 20"/>
            <p:cNvSpPr/>
            <p:nvPr/>
          </p:nvSpPr>
          <p:spPr>
            <a:xfrm>
              <a:off x="709800" y="6237312"/>
              <a:ext cx="3009936" cy="440574"/>
            </a:xfrm>
            <a:prstGeom prst="roundRect">
              <a:avLst>
                <a:gd name="adj" fmla="val 6007"/>
              </a:avLst>
            </a:prstGeom>
            <a:noFill/>
            <a:ln w="9525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Classroom A : Requirement Engineering</a:t>
              </a:r>
            </a:p>
          </p:txBody>
        </p:sp>
      </p:grpSp>
      <p:grpSp>
        <p:nvGrpSpPr>
          <p:cNvPr id="22" name="그룹 21"/>
          <p:cNvGrpSpPr/>
          <p:nvPr/>
        </p:nvGrpSpPr>
        <p:grpSpPr>
          <a:xfrm>
            <a:off x="4152957" y="3281873"/>
            <a:ext cx="3798086" cy="3360729"/>
            <a:chOff x="4313949" y="3317157"/>
            <a:chExt cx="3798086" cy="3360729"/>
          </a:xfrm>
        </p:grpSpPr>
        <p:pic>
          <p:nvPicPr>
            <p:cNvPr id="23" name="Picture 10" descr="Vector isometric computer lab classroom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2385" y="3317157"/>
              <a:ext cx="3381214" cy="27322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모서리가 둥근 직사각형 26"/>
            <p:cNvSpPr/>
            <p:nvPr/>
          </p:nvSpPr>
          <p:spPr>
            <a:xfrm>
              <a:off x="4313949" y="6237312"/>
              <a:ext cx="3798086" cy="440574"/>
            </a:xfrm>
            <a:prstGeom prst="roundRect">
              <a:avLst>
                <a:gd name="adj" fmla="val 6007"/>
              </a:avLst>
            </a:prstGeom>
            <a:noFill/>
            <a:ln w="9525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Classroom B : Object-Oriented Analysis and Design</a:t>
              </a:r>
            </a:p>
          </p:txBody>
        </p:sp>
      </p:grpSp>
      <p:grpSp>
        <p:nvGrpSpPr>
          <p:cNvPr id="28" name="그룹 27"/>
          <p:cNvGrpSpPr/>
          <p:nvPr/>
        </p:nvGrpSpPr>
        <p:grpSpPr>
          <a:xfrm>
            <a:off x="8384265" y="3281873"/>
            <a:ext cx="2958656" cy="3389705"/>
            <a:chOff x="8578516" y="3288181"/>
            <a:chExt cx="2958656" cy="3389705"/>
          </a:xfrm>
        </p:grpSpPr>
        <p:pic>
          <p:nvPicPr>
            <p:cNvPr id="29" name="Picture 14" descr="Modern technology class room with desks, chairs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78516" y="3288181"/>
              <a:ext cx="2958656" cy="29586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모서리가 둥근 직사각형 30"/>
            <p:cNvSpPr/>
            <p:nvPr/>
          </p:nvSpPr>
          <p:spPr>
            <a:xfrm>
              <a:off x="9267160" y="6237312"/>
              <a:ext cx="1581368" cy="440574"/>
            </a:xfrm>
            <a:prstGeom prst="roundRect">
              <a:avLst>
                <a:gd name="adj" fmla="val 6007"/>
              </a:avLst>
            </a:prstGeom>
            <a:noFill/>
            <a:ln w="9525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Classroom C : C++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617841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51706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mponent &amp; Connector View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UCM Mast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Component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간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teraction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6.2 Architectural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Representation</a:t>
            </a: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Dynamic View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486" y="944724"/>
            <a:ext cx="7886469" cy="4170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01154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45243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marL="0" lvl="0" indent="0" defTabSz="91442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mponent &amp; Connector View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QA REQ-QA-UCM-03, 04 Performanc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항목 충족을 위하여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hread Pool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과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Work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적용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6.2 Architectural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Representation</a:t>
            </a: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Dynamic View</a:t>
            </a: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100" y="1083722"/>
            <a:ext cx="9047248" cy="3677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3253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41365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mponent &amp; Connector View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REQ-QA-UCM-07 Extensibilit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항목 충족을 위하여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Simple Factory patter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의해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ntrol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할 수 있는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stanc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동적 생성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6.2 Architectural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Representation</a:t>
            </a: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Dynamic View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1083722"/>
            <a:ext cx="9256969" cy="3053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53365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5709600" cy="4929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vided Interface - Static View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6.3 Architectural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Representation</a:t>
            </a: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Interface</a:t>
            </a:r>
          </a:p>
        </p:txBody>
      </p:sp>
      <p:pic>
        <p:nvPicPr>
          <p:cNvPr id="5" name="그림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400" y="1202540"/>
            <a:ext cx="3423285" cy="2548255"/>
          </a:xfrm>
          <a:prstGeom prst="rect">
            <a:avLst/>
          </a:prstGeom>
        </p:spPr>
      </p:pic>
      <p:pic>
        <p:nvPicPr>
          <p:cNvPr id="6" name="그림 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400" y="4088214"/>
            <a:ext cx="3124200" cy="2437130"/>
          </a:xfrm>
          <a:prstGeom prst="rect">
            <a:avLst/>
          </a:prstGeom>
        </p:spPr>
      </p:pic>
      <p:pic>
        <p:nvPicPr>
          <p:cNvPr id="7" name="그림 6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452" y="5182954"/>
            <a:ext cx="2407920" cy="1342390"/>
          </a:xfrm>
          <a:prstGeom prst="rect">
            <a:avLst/>
          </a:prstGeom>
        </p:spPr>
      </p:pic>
      <p:pic>
        <p:nvPicPr>
          <p:cNvPr id="8" name="그림 7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8625" y="1064611"/>
            <a:ext cx="6048015" cy="4457431"/>
          </a:xfrm>
          <a:prstGeom prst="rect">
            <a:avLst/>
          </a:prstGeom>
          <a:noFill/>
        </p:spPr>
      </p:pic>
      <p:sp>
        <p:nvSpPr>
          <p:cNvPr id="9" name="텍스트 개체 틀 3"/>
          <p:cNvSpPr txBox="1">
            <a:spLocks/>
          </p:cNvSpPr>
          <p:nvPr/>
        </p:nvSpPr>
        <p:spPr>
          <a:xfrm>
            <a:off x="5555940" y="672117"/>
            <a:ext cx="5709600" cy="2344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vided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Interface - Dynamic View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623392" y="956319"/>
            <a:ext cx="295625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000" dirty="0" err="1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PackageManagement</a:t>
            </a:r>
            <a:r>
              <a:rPr lang="en-US" altLang="ko-KR" sz="10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(Proxy : OTA Client)</a:t>
            </a:r>
            <a:endParaRPr lang="en-US" sz="1000" dirty="0"/>
          </a:p>
        </p:txBody>
      </p:sp>
      <p:sp>
        <p:nvSpPr>
          <p:cNvPr id="12" name="직사각형 11"/>
          <p:cNvSpPr/>
          <p:nvPr/>
        </p:nvSpPr>
        <p:spPr>
          <a:xfrm>
            <a:off x="623392" y="3841993"/>
            <a:ext cx="289694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000" dirty="0" err="1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DriverApplicationInterface</a:t>
            </a:r>
            <a:r>
              <a:rPr lang="en-US" altLang="ko-KR" sz="10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(Proxy : VDA)</a:t>
            </a:r>
            <a:endParaRPr lang="en-US" sz="1000" dirty="0"/>
          </a:p>
        </p:txBody>
      </p:sp>
      <p:sp>
        <p:nvSpPr>
          <p:cNvPr id="13" name="직사각형 12"/>
          <p:cNvSpPr/>
          <p:nvPr/>
        </p:nvSpPr>
        <p:spPr>
          <a:xfrm>
            <a:off x="3829582" y="4939436"/>
            <a:ext cx="272542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000" dirty="0" err="1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StateManagerInterface</a:t>
            </a:r>
            <a:r>
              <a:rPr lang="en-US" altLang="ko-KR" sz="10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(Proxy : VSM)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25831984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59031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사업 기여 효과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향후 계획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1</a:t>
            </a:r>
            <a:r>
              <a:rPr lang="en-US" altLang="ko-KR" sz="1400" baseline="300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t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Iterat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서 검출된 이슈 수정 및 개선 및 검증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(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검토할 항목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Resource Monito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추가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/ Data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RC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추가 </a:t>
            </a:r>
            <a:r>
              <a:rPr lang="en-US" sz="14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hlinkClick r:id="rId2" action="ppaction://hlinksldjump"/>
              </a:rPr>
              <a:t>Appendix 7. </a:t>
            </a:r>
            <a:r>
              <a:rPr lang="ko-KR" altLang="en-US" sz="14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hlinkClick r:id="rId2" action="ppaction://hlinksldjump"/>
              </a:rPr>
              <a:t>참고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양산 프로세스에 따라 이슈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Fix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양산 </a:t>
            </a:r>
            <a:r>
              <a:rPr lang="en-US" altLang="ko-KR" sz="1400" dirty="0" err="1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estcase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통해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quirement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오류 분석 및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UTOSAR WG-UCM Requirement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ntribution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Lesson &amp; Learn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Project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진행 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Quality Attribu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선정의 중요성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Alternativ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작성의 중요성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설계 검증의 중요성</a:t>
            </a: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7. Project </a:t>
            </a:r>
            <a:r>
              <a:rPr kumimoji="1" lang="en-US" altLang="ko-KR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Restrospection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3238602"/>
              </p:ext>
            </p:extLst>
          </p:nvPr>
        </p:nvGraphicFramePr>
        <p:xfrm>
          <a:off x="695400" y="976692"/>
          <a:ext cx="11017224" cy="25603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4156">
                  <a:extLst>
                    <a:ext uri="{9D8B030D-6E8A-4147-A177-3AD203B41FA5}">
                      <a16:colId xmlns:a16="http://schemas.microsoft.com/office/drawing/2014/main" val="1197659203"/>
                    </a:ext>
                  </a:extLst>
                </a:gridCol>
                <a:gridCol w="4806534">
                  <a:extLst>
                    <a:ext uri="{9D8B030D-6E8A-4147-A177-3AD203B41FA5}">
                      <a16:colId xmlns:a16="http://schemas.microsoft.com/office/drawing/2014/main" val="2602705436"/>
                    </a:ext>
                  </a:extLst>
                </a:gridCol>
                <a:gridCol w="4806534">
                  <a:extLst>
                    <a:ext uri="{9D8B030D-6E8A-4147-A177-3AD203B41FA5}">
                      <a16:colId xmlns:a16="http://schemas.microsoft.com/office/drawing/2014/main" val="1629548476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솔루션 종류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LARA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(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자사 솔루션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)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ctor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(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독일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3</a:t>
                      </a:r>
                      <a:r>
                        <a:rPr lang="en-US" sz="1200" baseline="300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d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Party 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솔루션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)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2402582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 err="1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포함모듈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err="1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r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::com, LG SOME/IP</a:t>
                      </a:r>
                    </a:p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Execution Manager</a:t>
                      </a:r>
                    </a:p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latform Health Management</a:t>
                      </a:r>
                    </a:p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iagnostics</a:t>
                      </a:r>
                    </a:p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(UCM Master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제외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)</a:t>
                      </a:r>
                    </a:p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ryptography</a:t>
                      </a:r>
                    </a:p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dentify Access Management</a:t>
                      </a:r>
                    </a:p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ersistency</a:t>
                      </a:r>
                    </a:p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Log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err="1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r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::com, Vector SOME/IP</a:t>
                      </a:r>
                    </a:p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Execution Manager</a:t>
                      </a:r>
                    </a:p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iagnostics</a:t>
                      </a:r>
                    </a:p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(UCM Master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제외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)</a:t>
                      </a:r>
                    </a:p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ryptography</a:t>
                      </a:r>
                    </a:p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ersistency</a:t>
                      </a:r>
                    </a:p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Log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6971679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비용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200" dirty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약 </a:t>
                      </a:r>
                      <a:r>
                        <a:rPr lang="en-US" altLang="ko-KR" sz="1200" dirty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12</a:t>
                      </a:r>
                      <a:r>
                        <a:rPr lang="ko-KR" altLang="en-US" sz="1200" dirty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억</a:t>
                      </a:r>
                      <a:endParaRPr lang="en-US" sz="1200" dirty="0">
                        <a:solidFill>
                          <a:srgbClr val="0000FF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200" dirty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약 </a:t>
                      </a:r>
                      <a:r>
                        <a:rPr lang="en-US" altLang="ko-KR" sz="1200" dirty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33</a:t>
                      </a:r>
                      <a:r>
                        <a:rPr lang="ko-KR" altLang="en-US" sz="1200" dirty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억 </a:t>
                      </a:r>
                      <a:r>
                        <a:rPr lang="en-US" altLang="ko-KR" sz="1200" dirty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</a:t>
                      </a:r>
                      <a:r>
                        <a:rPr lang="ko-KR" altLang="en-US" sz="1200" dirty="0" err="1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모듈당</a:t>
                      </a:r>
                      <a:r>
                        <a:rPr lang="ko-KR" altLang="en-US" sz="1200" baseline="0" dirty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가격은 정확하지 않으나</a:t>
                      </a:r>
                      <a:r>
                        <a:rPr lang="en-US" altLang="ko-KR" sz="1200" baseline="0" dirty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 UCM Master </a:t>
                      </a:r>
                      <a:r>
                        <a:rPr lang="ko-KR" altLang="en-US" sz="1200" baseline="0" dirty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포함 시 </a:t>
                      </a:r>
                      <a:r>
                        <a:rPr lang="en-US" altLang="ko-KR" sz="1200" baseline="0" dirty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40</a:t>
                      </a:r>
                      <a:r>
                        <a:rPr lang="ko-KR" altLang="en-US" sz="1200" baseline="0" dirty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억 예상</a:t>
                      </a:r>
                      <a:r>
                        <a:rPr lang="en-US" altLang="ko-KR" sz="1200" baseline="0" dirty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)</a:t>
                      </a:r>
                      <a:endParaRPr lang="en-US" sz="1200" dirty="0">
                        <a:solidFill>
                          <a:srgbClr val="0000FF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7642121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비고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Engineering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서비스 비용 </a:t>
                      </a:r>
                      <a:r>
                        <a:rPr lang="ko-KR" altLang="en-US" sz="1200" dirty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포함</a:t>
                      </a:r>
                      <a:endParaRPr lang="en-US" sz="1200" dirty="0">
                        <a:solidFill>
                          <a:srgbClr val="0000FF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Engineering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서비스 비용 </a:t>
                      </a:r>
                      <a:r>
                        <a:rPr lang="ko-KR" altLang="en-US" sz="1200" dirty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불 포함</a:t>
                      </a:r>
                      <a:endParaRPr lang="en-US" sz="1200" dirty="0">
                        <a:solidFill>
                          <a:srgbClr val="0000FF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14779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667295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35360" y="98395"/>
            <a:ext cx="63786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Appendix 1. Non AUTOSAR Adaptive </a:t>
            </a:r>
            <a:r>
              <a:rPr lang="ko-KR" altLang="en-US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영역의 </a:t>
            </a:r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Software Update</a:t>
            </a:r>
          </a:p>
        </p:txBody>
      </p:sp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10341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Non AUTOSAR Adaptiv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영역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AUTOSAR Platform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은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UTOSAR Classic Platform &amp; AUTOSAR Adaptive Platform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을 통칭하는 표현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AUTOSAR Classic Platform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을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pd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하기 위해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AN(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구리선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 Protocol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및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Flashing Adapter App.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이 별도로 필요함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AUTOSAR Adaptive UCM Requirement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는 이러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cenario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소개되어 있지만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현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ject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는 </a:t>
            </a:r>
            <a:r>
              <a:rPr lang="en-US" altLang="ko-KR" sz="1400" dirty="0" err="1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secase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없어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cop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서 제외함</a:t>
            </a:r>
            <a:endParaRPr lang="en-US" altLang="ko-KR" sz="1000" dirty="0">
              <a:solidFill>
                <a:srgbClr val="00B05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  <p:grpSp>
        <p:nvGrpSpPr>
          <p:cNvPr id="88" name="그룹 87"/>
          <p:cNvGrpSpPr/>
          <p:nvPr/>
        </p:nvGrpSpPr>
        <p:grpSpPr>
          <a:xfrm>
            <a:off x="803412" y="1808820"/>
            <a:ext cx="6747827" cy="4793033"/>
            <a:chOff x="1883221" y="1628754"/>
            <a:chExt cx="6747827" cy="4793033"/>
          </a:xfrm>
        </p:grpSpPr>
        <p:grpSp>
          <p:nvGrpSpPr>
            <p:cNvPr id="89" name="그룹 88"/>
            <p:cNvGrpSpPr/>
            <p:nvPr/>
          </p:nvGrpSpPr>
          <p:grpSpPr>
            <a:xfrm>
              <a:off x="1883221" y="1628754"/>
              <a:ext cx="6747827" cy="2840120"/>
              <a:chOff x="1883221" y="1628754"/>
              <a:chExt cx="6747827" cy="2840120"/>
            </a:xfrm>
          </p:grpSpPr>
          <p:sp>
            <p:nvSpPr>
              <p:cNvPr id="97" name="직사각형 96">
                <a:extLst>
                  <a:ext uri="{FF2B5EF4-FFF2-40B4-BE49-F238E27FC236}">
                    <a16:creationId xmlns:a16="http://schemas.microsoft.com/office/drawing/2014/main" id="{AD948584-70D2-9812-97BF-C67F561CC423}"/>
                  </a:ext>
                </a:extLst>
              </p:cNvPr>
              <p:cNvSpPr/>
              <p:nvPr/>
            </p:nvSpPr>
            <p:spPr>
              <a:xfrm>
                <a:off x="3876612" y="2241722"/>
                <a:ext cx="1240971" cy="419100"/>
              </a:xfrm>
              <a:prstGeom prst="rect">
                <a:avLst/>
              </a:prstGeom>
              <a:solidFill>
                <a:srgbClr val="70AD47"/>
              </a:solidFill>
              <a:ln w="12700" cap="flat" cmpd="sng" algn="ctr">
                <a:solidFill>
                  <a:srgbClr val="70AD47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OTA Client</a:t>
                </a: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sp>
            <p:nvSpPr>
              <p:cNvPr id="98" name="직사각형 97">
                <a:extLst>
                  <a:ext uri="{FF2B5EF4-FFF2-40B4-BE49-F238E27FC236}">
                    <a16:creationId xmlns:a16="http://schemas.microsoft.com/office/drawing/2014/main" id="{69494F0D-3897-5D97-3F60-8C229CD90D11}"/>
                  </a:ext>
                </a:extLst>
              </p:cNvPr>
              <p:cNvSpPr/>
              <p:nvPr/>
            </p:nvSpPr>
            <p:spPr>
              <a:xfrm>
                <a:off x="3876612" y="3040973"/>
                <a:ext cx="1240971" cy="419100"/>
              </a:xfrm>
              <a:prstGeom prst="rect">
                <a:avLst/>
              </a:prstGeom>
              <a:gradFill rotWithShape="1">
                <a:gsLst>
                  <a:gs pos="0">
                    <a:srgbClr val="ED7D31">
                      <a:lumMod val="110000"/>
                      <a:satMod val="105000"/>
                      <a:tint val="67000"/>
                    </a:srgbClr>
                  </a:gs>
                  <a:gs pos="50000">
                    <a:srgbClr val="ED7D31">
                      <a:lumMod val="105000"/>
                      <a:satMod val="103000"/>
                      <a:tint val="73000"/>
                    </a:srgbClr>
                  </a:gs>
                  <a:gs pos="100000">
                    <a:srgbClr val="ED7D31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ED7D3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UCM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Master</a:t>
                </a: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sp>
            <p:nvSpPr>
              <p:cNvPr id="99" name="직사각형 98">
                <a:extLst>
                  <a:ext uri="{FF2B5EF4-FFF2-40B4-BE49-F238E27FC236}">
                    <a16:creationId xmlns:a16="http://schemas.microsoft.com/office/drawing/2014/main" id="{64C3E2E0-E370-51E2-45FE-DE90FEC251E9}"/>
                  </a:ext>
                </a:extLst>
              </p:cNvPr>
              <p:cNvSpPr/>
              <p:nvPr/>
            </p:nvSpPr>
            <p:spPr>
              <a:xfrm>
                <a:off x="3876612" y="3840224"/>
                <a:ext cx="1240971" cy="419100"/>
              </a:xfrm>
              <a:prstGeom prst="rect">
                <a:avLst/>
              </a:prstGeom>
              <a:gradFill rotWithShape="1">
                <a:gsLst>
                  <a:gs pos="0">
                    <a:srgbClr val="ED7D31">
                      <a:lumMod val="110000"/>
                      <a:satMod val="105000"/>
                      <a:tint val="67000"/>
                    </a:srgbClr>
                  </a:gs>
                  <a:gs pos="50000">
                    <a:srgbClr val="ED7D31">
                      <a:lumMod val="105000"/>
                      <a:satMod val="103000"/>
                      <a:tint val="73000"/>
                    </a:srgbClr>
                  </a:gs>
                  <a:gs pos="100000">
                    <a:srgbClr val="ED7D31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ED7D3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UCM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Subordinate</a:t>
                </a:r>
              </a:p>
            </p:txBody>
          </p:sp>
          <p:cxnSp>
            <p:nvCxnSpPr>
              <p:cNvPr id="100" name="직선 연결선 99">
                <a:extLst>
                  <a:ext uri="{FF2B5EF4-FFF2-40B4-BE49-F238E27FC236}">
                    <a16:creationId xmlns:a16="http://schemas.microsoft.com/office/drawing/2014/main" id="{61C279AC-B23D-C7EE-899B-C47E5BC19118}"/>
                  </a:ext>
                </a:extLst>
              </p:cNvPr>
              <p:cNvCxnSpPr>
                <a:stCxn id="97" idx="2"/>
                <a:endCxn id="98" idx="0"/>
              </p:cNvCxnSpPr>
              <p:nvPr/>
            </p:nvCxnSpPr>
            <p:spPr>
              <a:xfrm>
                <a:off x="4497098" y="2660822"/>
                <a:ext cx="0" cy="380151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Text" lastClr="000000"/>
                </a:solidFill>
                <a:prstDash val="sysDash"/>
                <a:miter lim="800000"/>
                <a:tailEnd type="stealth"/>
              </a:ln>
              <a:effectLst/>
            </p:spPr>
          </p:cxnSp>
          <p:cxnSp>
            <p:nvCxnSpPr>
              <p:cNvPr id="101" name="직선 연결선 100">
                <a:extLst>
                  <a:ext uri="{FF2B5EF4-FFF2-40B4-BE49-F238E27FC236}">
                    <a16:creationId xmlns:a16="http://schemas.microsoft.com/office/drawing/2014/main" id="{F7510B22-F7CB-4800-FD8A-E124B4FABF2B}"/>
                  </a:ext>
                </a:extLst>
              </p:cNvPr>
              <p:cNvCxnSpPr>
                <a:cxnSpLocks/>
                <a:stCxn id="98" idx="2"/>
                <a:endCxn id="99" idx="0"/>
              </p:cNvCxnSpPr>
              <p:nvPr/>
            </p:nvCxnSpPr>
            <p:spPr>
              <a:xfrm>
                <a:off x="4497098" y="3460073"/>
                <a:ext cx="0" cy="380151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Text" lastClr="000000"/>
                </a:solidFill>
                <a:prstDash val="sysDash"/>
                <a:miter lim="800000"/>
                <a:tailEnd type="stealth"/>
              </a:ln>
              <a:effectLst/>
            </p:spPr>
          </p:cxnSp>
          <p:cxnSp>
            <p:nvCxnSpPr>
              <p:cNvPr id="102" name="연결선: 꺾임 1054">
                <a:extLst>
                  <a:ext uri="{FF2B5EF4-FFF2-40B4-BE49-F238E27FC236}">
                    <a16:creationId xmlns:a16="http://schemas.microsoft.com/office/drawing/2014/main" id="{9010E296-6010-21BB-CCA1-B1315093C8C8}"/>
                  </a:ext>
                </a:extLst>
              </p:cNvPr>
              <p:cNvCxnSpPr>
                <a:cxnSpLocks/>
                <a:stCxn id="98" idx="3"/>
                <a:endCxn id="111" idx="1"/>
              </p:cNvCxnSpPr>
              <p:nvPr/>
            </p:nvCxnSpPr>
            <p:spPr>
              <a:xfrm flipV="1">
                <a:off x="5117583" y="2449050"/>
                <a:ext cx="1826389" cy="801473"/>
              </a:xfrm>
              <a:prstGeom prst="bentConnector3">
                <a:avLst>
                  <a:gd name="adj1" fmla="val 50000"/>
                </a:avLst>
              </a:prstGeom>
              <a:noFill/>
              <a:ln w="19050" cap="flat" cmpd="sng" algn="ctr">
                <a:solidFill>
                  <a:sysClr val="windowText" lastClr="000000"/>
                </a:solidFill>
                <a:prstDash val="sysDash"/>
                <a:miter lim="800000"/>
                <a:tailEnd type="stealth"/>
              </a:ln>
              <a:effectLst/>
            </p:spPr>
          </p:cxnSp>
          <p:sp>
            <p:nvSpPr>
              <p:cNvPr id="103" name="직사각형 102">
                <a:extLst>
                  <a:ext uri="{FF2B5EF4-FFF2-40B4-BE49-F238E27FC236}">
                    <a16:creationId xmlns:a16="http://schemas.microsoft.com/office/drawing/2014/main" id="{E0DE0A92-E57D-C040-1A63-875B659BBBE3}"/>
                  </a:ext>
                </a:extLst>
              </p:cNvPr>
              <p:cNvSpPr/>
              <p:nvPr/>
            </p:nvSpPr>
            <p:spPr>
              <a:xfrm>
                <a:off x="1883221" y="1628754"/>
                <a:ext cx="3680466" cy="2840120"/>
              </a:xfrm>
              <a:prstGeom prst="rect">
                <a:avLst/>
              </a:prstGeom>
              <a:noFill/>
              <a:ln w="12700" cap="flat" cmpd="sng" algn="ctr">
                <a:solidFill>
                  <a:sysClr val="windowText" lastClr="000000"/>
                </a:solidFill>
                <a:prstDash val="dash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ECU A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(Adaptive AUTOSAR Machine)</a:t>
                </a: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grpSp>
            <p:nvGrpSpPr>
              <p:cNvPr id="104" name="그룹 103"/>
              <p:cNvGrpSpPr/>
              <p:nvPr/>
            </p:nvGrpSpPr>
            <p:grpSpPr>
              <a:xfrm>
                <a:off x="6497868" y="1628754"/>
                <a:ext cx="2133180" cy="1239395"/>
                <a:chOff x="6469298" y="3229478"/>
                <a:chExt cx="2133180" cy="1239395"/>
              </a:xfrm>
            </p:grpSpPr>
            <p:sp>
              <p:nvSpPr>
                <p:cNvPr id="111" name="직사각형 110">
                  <a:extLst>
                    <a:ext uri="{FF2B5EF4-FFF2-40B4-BE49-F238E27FC236}">
                      <a16:creationId xmlns:a16="http://schemas.microsoft.com/office/drawing/2014/main" id="{B31F5B99-00D3-2E97-5CF1-ADF8A47416B8}"/>
                    </a:ext>
                  </a:extLst>
                </p:cNvPr>
                <p:cNvSpPr/>
                <p:nvPr/>
              </p:nvSpPr>
              <p:spPr>
                <a:xfrm>
                  <a:off x="6915402" y="3840224"/>
                  <a:ext cx="1240971" cy="419100"/>
                </a:xfrm>
                <a:prstGeom prst="rect">
                  <a:avLst/>
                </a:prstGeom>
                <a:gradFill rotWithShape="1">
                  <a:gsLst>
                    <a:gs pos="0">
                      <a:srgbClr val="ED7D31">
                        <a:lumMod val="110000"/>
                        <a:satMod val="105000"/>
                        <a:tint val="67000"/>
                      </a:srgbClr>
                    </a:gs>
                    <a:gs pos="50000">
                      <a:srgbClr val="ED7D31">
                        <a:lumMod val="105000"/>
                        <a:satMod val="103000"/>
                        <a:tint val="73000"/>
                      </a:srgbClr>
                    </a:gs>
                    <a:gs pos="100000">
                      <a:srgbClr val="ED7D31">
                        <a:lumMod val="105000"/>
                        <a:satMod val="109000"/>
                        <a:tint val="81000"/>
                      </a:srgbClr>
                    </a:gs>
                  </a:gsLst>
                  <a:lin ang="5400000" scaled="0"/>
                </a:gradFill>
                <a:ln w="6350" cap="flat" cmpd="sng" algn="ctr">
                  <a:solidFill>
                    <a:srgbClr val="ED7D31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LG Smart UI SemiBold" panose="020B0700000101010101" pitchFamily="50" charset="-127"/>
                      <a:ea typeface="LG Smart UI SemiBold" panose="020B0700000101010101" pitchFamily="50" charset="-127"/>
                      <a:cs typeface="+mn-cs"/>
                    </a:rPr>
                    <a:t>UCM</a:t>
                  </a:r>
                </a:p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LG Smart UI SemiBold" panose="020B0700000101010101" pitchFamily="50" charset="-127"/>
                      <a:ea typeface="LG Smart UI SemiBold" panose="020B0700000101010101" pitchFamily="50" charset="-127"/>
                      <a:cs typeface="+mn-cs"/>
                    </a:rPr>
                    <a:t>Subordinate</a:t>
                  </a:r>
                </a:p>
              </p:txBody>
            </p:sp>
            <p:sp>
              <p:nvSpPr>
                <p:cNvPr id="112" name="직사각형 111">
                  <a:extLst>
                    <a:ext uri="{FF2B5EF4-FFF2-40B4-BE49-F238E27FC236}">
                      <a16:creationId xmlns:a16="http://schemas.microsoft.com/office/drawing/2014/main" id="{97BD113A-AB65-5393-B5D5-EC597016D970}"/>
                    </a:ext>
                  </a:extLst>
                </p:cNvPr>
                <p:cNvSpPr/>
                <p:nvPr/>
              </p:nvSpPr>
              <p:spPr>
                <a:xfrm>
                  <a:off x="6469298" y="3229478"/>
                  <a:ext cx="2133180" cy="1239395"/>
                </a:xfrm>
                <a:prstGeom prst="rect">
                  <a:avLst/>
                </a:prstGeom>
                <a:noFill/>
                <a:ln w="12700" cap="flat" cmpd="sng" algn="ctr">
                  <a:solidFill>
                    <a:sysClr val="windowText" lastClr="000000"/>
                  </a:solidFill>
                  <a:prstDash val="dash"/>
                  <a:miter lim="800000"/>
                </a:ln>
                <a:effectLst/>
              </p:spPr>
              <p:txBody>
                <a:bodyPr rtlCol="0" anchor="t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LG Smart UI SemiBold" panose="020B0700000101010101" pitchFamily="50" charset="-127"/>
                      <a:ea typeface="LG Smart UI SemiBold" panose="020B0700000101010101" pitchFamily="50" charset="-127"/>
                      <a:cs typeface="+mn-cs"/>
                    </a:rPr>
                    <a:t>ECU B</a:t>
                  </a:r>
                </a:p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LG Smart UI SemiBold" panose="020B0700000101010101" pitchFamily="50" charset="-127"/>
                      <a:ea typeface="LG Smart UI SemiBold" panose="020B0700000101010101" pitchFamily="50" charset="-127"/>
                      <a:cs typeface="+mn-cs"/>
                    </a:rPr>
                    <a:t>(Adaptive AUTOSAR Machine)</a:t>
                  </a:r>
                  <a:endParaRPr kumimoji="0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endParaRPr>
                </a:p>
              </p:txBody>
            </p:sp>
          </p:grpSp>
          <p:sp>
            <p:nvSpPr>
              <p:cNvPr id="105" name="직사각형 104">
                <a:extLst>
                  <a:ext uri="{FF2B5EF4-FFF2-40B4-BE49-F238E27FC236}">
                    <a16:creationId xmlns:a16="http://schemas.microsoft.com/office/drawing/2014/main" id="{AD948584-70D2-9812-97BF-C67F561CC423}"/>
                  </a:ext>
                </a:extLst>
              </p:cNvPr>
              <p:cNvSpPr/>
              <p:nvPr/>
            </p:nvSpPr>
            <p:spPr>
              <a:xfrm>
                <a:off x="2330098" y="2231952"/>
                <a:ext cx="1240971" cy="419100"/>
              </a:xfrm>
              <a:prstGeom prst="rect">
                <a:avLst/>
              </a:prstGeom>
              <a:solidFill>
                <a:srgbClr val="70AD47"/>
              </a:solidFill>
              <a:ln w="12700" cap="flat" cmpd="sng" algn="ctr">
                <a:solidFill>
                  <a:srgbClr val="70AD47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Flashing App.</a:t>
                </a: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grpSp>
            <p:nvGrpSpPr>
              <p:cNvPr id="106" name="그룹 105"/>
              <p:cNvGrpSpPr/>
              <p:nvPr/>
            </p:nvGrpSpPr>
            <p:grpSpPr>
              <a:xfrm>
                <a:off x="6497868" y="3229479"/>
                <a:ext cx="2133180" cy="1239395"/>
                <a:chOff x="6469298" y="3229478"/>
                <a:chExt cx="2133180" cy="1239395"/>
              </a:xfrm>
            </p:grpSpPr>
            <p:sp>
              <p:nvSpPr>
                <p:cNvPr id="109" name="직사각형 108">
                  <a:extLst>
                    <a:ext uri="{FF2B5EF4-FFF2-40B4-BE49-F238E27FC236}">
                      <a16:creationId xmlns:a16="http://schemas.microsoft.com/office/drawing/2014/main" id="{B31F5B99-00D3-2E97-5CF1-ADF8A47416B8}"/>
                    </a:ext>
                  </a:extLst>
                </p:cNvPr>
                <p:cNvSpPr/>
                <p:nvPr/>
              </p:nvSpPr>
              <p:spPr>
                <a:xfrm>
                  <a:off x="6915402" y="3840224"/>
                  <a:ext cx="1240971" cy="419100"/>
                </a:xfrm>
                <a:prstGeom prst="rect">
                  <a:avLst/>
                </a:prstGeom>
                <a:gradFill rotWithShape="1">
                  <a:gsLst>
                    <a:gs pos="0">
                      <a:srgbClr val="4472C4">
                        <a:lumMod val="110000"/>
                        <a:satMod val="105000"/>
                        <a:tint val="67000"/>
                      </a:srgbClr>
                    </a:gs>
                    <a:gs pos="50000">
                      <a:srgbClr val="4472C4">
                        <a:lumMod val="105000"/>
                        <a:satMod val="103000"/>
                        <a:tint val="73000"/>
                      </a:srgbClr>
                    </a:gs>
                    <a:gs pos="100000">
                      <a:srgbClr val="4472C4">
                        <a:lumMod val="105000"/>
                        <a:satMod val="109000"/>
                        <a:tint val="81000"/>
                      </a:srgbClr>
                    </a:gs>
                  </a:gsLst>
                  <a:lin ang="5400000" scaled="0"/>
                </a:gradFill>
                <a:ln w="6350" cap="flat" cmpd="sng" algn="ctr">
                  <a:solidFill>
                    <a:srgbClr val="4472C4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LG Smart UI SemiBold" panose="020B0700000101010101" pitchFamily="50" charset="-127"/>
                      <a:ea typeface="LG Smart UI SemiBold" panose="020B0700000101010101" pitchFamily="50" charset="-127"/>
                      <a:cs typeface="+mn-cs"/>
                    </a:rPr>
                    <a:t>Update App.</a:t>
                  </a:r>
                </a:p>
              </p:txBody>
            </p:sp>
            <p:sp>
              <p:nvSpPr>
                <p:cNvPr id="110" name="직사각형 109">
                  <a:extLst>
                    <a:ext uri="{FF2B5EF4-FFF2-40B4-BE49-F238E27FC236}">
                      <a16:creationId xmlns:a16="http://schemas.microsoft.com/office/drawing/2014/main" id="{97BD113A-AB65-5393-B5D5-EC597016D970}"/>
                    </a:ext>
                  </a:extLst>
                </p:cNvPr>
                <p:cNvSpPr/>
                <p:nvPr/>
              </p:nvSpPr>
              <p:spPr>
                <a:xfrm>
                  <a:off x="6469298" y="3229478"/>
                  <a:ext cx="2133180" cy="1239395"/>
                </a:xfrm>
                <a:prstGeom prst="rect">
                  <a:avLst/>
                </a:prstGeom>
                <a:noFill/>
                <a:ln w="12700" cap="flat" cmpd="sng" algn="ctr">
                  <a:solidFill>
                    <a:sysClr val="windowText" lastClr="000000"/>
                  </a:solidFill>
                  <a:prstDash val="dash"/>
                  <a:miter lim="800000"/>
                </a:ln>
                <a:effectLst/>
              </p:spPr>
              <p:txBody>
                <a:bodyPr rtlCol="0" anchor="t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LG Smart UI SemiBold" panose="020B0700000101010101" pitchFamily="50" charset="-127"/>
                      <a:ea typeface="LG Smart UI SemiBold" panose="020B0700000101010101" pitchFamily="50" charset="-127"/>
                      <a:cs typeface="+mn-cs"/>
                    </a:rPr>
                    <a:t>ECU C</a:t>
                  </a:r>
                </a:p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LG Smart UI SemiBold" panose="020B0700000101010101" pitchFamily="50" charset="-127"/>
                      <a:ea typeface="LG Smart UI SemiBold" panose="020B0700000101010101" pitchFamily="50" charset="-127"/>
                      <a:cs typeface="+mn-cs"/>
                    </a:rPr>
                    <a:t>(Classic AUTOSAR Machine)</a:t>
                  </a:r>
                  <a:endParaRPr kumimoji="0" lang="ko-KR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endParaRPr>
                </a:p>
              </p:txBody>
            </p:sp>
          </p:grpSp>
          <p:cxnSp>
            <p:nvCxnSpPr>
              <p:cNvPr id="107" name="연결선: 꺾임 1054">
                <a:extLst>
                  <a:ext uri="{FF2B5EF4-FFF2-40B4-BE49-F238E27FC236}">
                    <a16:creationId xmlns:a16="http://schemas.microsoft.com/office/drawing/2014/main" id="{9010E296-6010-21BB-CCA1-B1315093C8C8}"/>
                  </a:ext>
                </a:extLst>
              </p:cNvPr>
              <p:cNvCxnSpPr>
                <a:cxnSpLocks/>
                <a:stCxn id="98" idx="1"/>
                <a:endCxn id="105" idx="3"/>
              </p:cNvCxnSpPr>
              <p:nvPr/>
            </p:nvCxnSpPr>
            <p:spPr>
              <a:xfrm rot="10800000">
                <a:off x="3571070" y="2441503"/>
                <a:ext cx="305543" cy="809021"/>
              </a:xfrm>
              <a:prstGeom prst="bentConnector3">
                <a:avLst>
                  <a:gd name="adj1" fmla="val 50000"/>
                </a:avLst>
              </a:prstGeom>
              <a:noFill/>
              <a:ln w="19050" cap="flat" cmpd="sng" algn="ctr">
                <a:solidFill>
                  <a:sysClr val="windowText" lastClr="000000"/>
                </a:solidFill>
                <a:prstDash val="sysDash"/>
                <a:miter lim="800000"/>
                <a:tailEnd type="stealth"/>
              </a:ln>
              <a:effectLst/>
            </p:spPr>
          </p:cxnSp>
          <p:cxnSp>
            <p:nvCxnSpPr>
              <p:cNvPr id="108" name="연결선: 꺾임 1054">
                <a:extLst>
                  <a:ext uri="{FF2B5EF4-FFF2-40B4-BE49-F238E27FC236}">
                    <a16:creationId xmlns:a16="http://schemas.microsoft.com/office/drawing/2014/main" id="{9010E296-6010-21BB-CCA1-B1315093C8C8}"/>
                  </a:ext>
                </a:extLst>
              </p:cNvPr>
              <p:cNvCxnSpPr>
                <a:cxnSpLocks/>
                <a:stCxn id="105" idx="2"/>
                <a:endCxn id="109" idx="2"/>
              </p:cNvCxnSpPr>
              <p:nvPr/>
            </p:nvCxnSpPr>
            <p:spPr>
              <a:xfrm rot="16200000" flipH="1">
                <a:off x="4453385" y="1148251"/>
                <a:ext cx="1608273" cy="4613874"/>
              </a:xfrm>
              <a:prstGeom prst="bentConnector3">
                <a:avLst>
                  <a:gd name="adj1" fmla="val 129769"/>
                </a:avLst>
              </a:prstGeom>
              <a:noFill/>
              <a:ln w="19050" cap="flat" cmpd="sng" algn="ctr">
                <a:solidFill>
                  <a:sysClr val="windowText" lastClr="000000"/>
                </a:solidFill>
                <a:prstDash val="sysDash"/>
                <a:miter lim="800000"/>
                <a:tailEnd type="stealth"/>
              </a:ln>
              <a:effectLst/>
            </p:spPr>
          </p:cxnSp>
        </p:grpSp>
        <p:grpSp>
          <p:nvGrpSpPr>
            <p:cNvPr id="90" name="그룹 89"/>
            <p:cNvGrpSpPr/>
            <p:nvPr/>
          </p:nvGrpSpPr>
          <p:grpSpPr>
            <a:xfrm>
              <a:off x="1883221" y="5081842"/>
              <a:ext cx="6747827" cy="1339945"/>
              <a:chOff x="1883221" y="5081842"/>
              <a:chExt cx="6747827" cy="1339945"/>
            </a:xfrm>
          </p:grpSpPr>
          <p:sp>
            <p:nvSpPr>
              <p:cNvPr id="91" name="직사각형 90">
                <a:extLst>
                  <a:ext uri="{FF2B5EF4-FFF2-40B4-BE49-F238E27FC236}">
                    <a16:creationId xmlns:a16="http://schemas.microsoft.com/office/drawing/2014/main" id="{F4D0266C-7BF1-04E7-6E17-C87CE3B5157A}"/>
                  </a:ext>
                </a:extLst>
              </p:cNvPr>
              <p:cNvSpPr/>
              <p:nvPr/>
            </p:nvSpPr>
            <p:spPr>
              <a:xfrm>
                <a:off x="1883221" y="5081842"/>
                <a:ext cx="6747827" cy="1339945"/>
              </a:xfrm>
              <a:prstGeom prst="rect">
                <a:avLst/>
              </a:prstGeom>
              <a:noFill/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defTabSz="914400" eaLnBrk="1" fontAlgn="auto" latinLnBrk="0" hangingPunct="1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Key</a:t>
                </a:r>
              </a:p>
              <a:p>
                <a:pPr marL="0" marR="0" lvl="0" indent="0" defTabSz="914400" eaLnBrk="1" fontAlgn="auto" latinLnBrk="0" hangingPunct="1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             Adaptive AUTOSAR Functional Cluster                     Adaptive AUTOSAR Application</a:t>
                </a:r>
              </a:p>
              <a:p>
                <a:pPr marL="0" marR="0" lvl="0" indent="0" defTabSz="914400" eaLnBrk="1" fontAlgn="auto" latinLnBrk="0" hangingPunct="1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             Classic AUTOSAR Application                                   Physical Boundary</a:t>
                </a:r>
              </a:p>
              <a:p>
                <a:pPr marL="0" marR="0" lvl="0" indent="0" defTabSz="914400" eaLnBrk="1" fontAlgn="auto" latinLnBrk="0" hangingPunct="1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             Data flow</a:t>
                </a:r>
              </a:p>
            </p:txBody>
          </p:sp>
          <p:sp>
            <p:nvSpPr>
              <p:cNvPr id="92" name="직사각형 91">
                <a:extLst>
                  <a:ext uri="{FF2B5EF4-FFF2-40B4-BE49-F238E27FC236}">
                    <a16:creationId xmlns:a16="http://schemas.microsoft.com/office/drawing/2014/main" id="{A1CF295E-6B3F-2766-45CA-F09B50CFCE7C}"/>
                  </a:ext>
                </a:extLst>
              </p:cNvPr>
              <p:cNvSpPr/>
              <p:nvPr/>
            </p:nvSpPr>
            <p:spPr>
              <a:xfrm>
                <a:off x="1997803" y="5501351"/>
                <a:ext cx="360000" cy="180000"/>
              </a:xfrm>
              <a:prstGeom prst="rect">
                <a:avLst/>
              </a:prstGeom>
              <a:gradFill rotWithShape="1">
                <a:gsLst>
                  <a:gs pos="0">
                    <a:srgbClr val="ED7D31">
                      <a:lumMod val="110000"/>
                      <a:satMod val="105000"/>
                      <a:tint val="67000"/>
                    </a:srgbClr>
                  </a:gs>
                  <a:gs pos="50000">
                    <a:srgbClr val="ED7D31">
                      <a:lumMod val="105000"/>
                      <a:satMod val="103000"/>
                      <a:tint val="73000"/>
                    </a:srgbClr>
                  </a:gs>
                  <a:gs pos="100000">
                    <a:srgbClr val="ED7D31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ED7D3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ytona" panose="020B0604030500040204" pitchFamily="34" charset="0"/>
                  <a:ea typeface="맑은 고딕" panose="020B0503020000020004" pitchFamily="50" charset="-127"/>
                  <a:cs typeface="+mn-cs"/>
                </a:endParaRPr>
              </a:p>
            </p:txBody>
          </p:sp>
          <p:cxnSp>
            <p:nvCxnSpPr>
              <p:cNvPr id="93" name="직선 연결선 92">
                <a:extLst>
                  <a:ext uri="{FF2B5EF4-FFF2-40B4-BE49-F238E27FC236}">
                    <a16:creationId xmlns:a16="http://schemas.microsoft.com/office/drawing/2014/main" id="{6AC133DC-B6ED-23B2-A848-72A04A0DD8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97803" y="6173859"/>
                <a:ext cx="348061" cy="0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Text" lastClr="000000"/>
                </a:solidFill>
                <a:prstDash val="sysDash"/>
                <a:miter lim="800000"/>
                <a:tailEnd type="stealth"/>
              </a:ln>
              <a:effectLst/>
            </p:spPr>
          </p:cxnSp>
          <p:sp>
            <p:nvSpPr>
              <p:cNvPr id="94" name="직사각형 93">
                <a:extLst>
                  <a:ext uri="{FF2B5EF4-FFF2-40B4-BE49-F238E27FC236}">
                    <a16:creationId xmlns:a16="http://schemas.microsoft.com/office/drawing/2014/main" id="{A2F3B4E0-87BF-47F7-462E-6B168BF2BA16}"/>
                  </a:ext>
                </a:extLst>
              </p:cNvPr>
              <p:cNvSpPr/>
              <p:nvPr/>
            </p:nvSpPr>
            <p:spPr>
              <a:xfrm>
                <a:off x="5452203" y="5501351"/>
                <a:ext cx="360000" cy="180000"/>
              </a:xfrm>
              <a:prstGeom prst="rect">
                <a:avLst/>
              </a:prstGeom>
              <a:solidFill>
                <a:srgbClr val="70AD47"/>
              </a:solidFill>
              <a:ln w="12700" cap="flat" cmpd="sng" algn="ctr">
                <a:solidFill>
                  <a:srgbClr val="70AD47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ytona" panose="020B0604030500040204" pitchFamily="34" charset="0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95" name="직사각형 94"/>
              <p:cNvSpPr/>
              <p:nvPr/>
            </p:nvSpPr>
            <p:spPr>
              <a:xfrm>
                <a:off x="5452203" y="5804478"/>
                <a:ext cx="360000" cy="180000"/>
              </a:xfrm>
              <a:prstGeom prst="rect">
                <a:avLst/>
              </a:prstGeom>
              <a:noFill/>
              <a:ln w="12700" cap="flat" cmpd="sng" algn="ctr">
                <a:solidFill>
                  <a:sysClr val="windowText" lastClr="000000"/>
                </a:solidFill>
                <a:prstDash val="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sp>
            <p:nvSpPr>
              <p:cNvPr id="96" name="직사각형 95">
                <a:extLst>
                  <a:ext uri="{FF2B5EF4-FFF2-40B4-BE49-F238E27FC236}">
                    <a16:creationId xmlns:a16="http://schemas.microsoft.com/office/drawing/2014/main" id="{B31F5B99-00D3-2E97-5CF1-ADF8A47416B8}"/>
                  </a:ext>
                </a:extLst>
              </p:cNvPr>
              <p:cNvSpPr/>
              <p:nvPr/>
            </p:nvSpPr>
            <p:spPr>
              <a:xfrm>
                <a:off x="1997803" y="5804478"/>
                <a:ext cx="360000" cy="180000"/>
              </a:xfrm>
              <a:prstGeom prst="rect">
                <a:avLst/>
              </a:prstGeom>
              <a:gradFill rotWithShape="1">
                <a:gsLst>
                  <a:gs pos="0">
                    <a:srgbClr val="4472C4">
                      <a:lumMod val="110000"/>
                      <a:satMod val="105000"/>
                      <a:tint val="67000"/>
                    </a:srgbClr>
                  </a:gs>
                  <a:gs pos="50000">
                    <a:srgbClr val="4472C4">
                      <a:lumMod val="105000"/>
                      <a:satMod val="103000"/>
                      <a:tint val="73000"/>
                    </a:srgbClr>
                  </a:gs>
                  <a:gs pos="100000">
                    <a:srgbClr val="4472C4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ytona" panose="020B0604030500040204" pitchFamily="34" charset="0"/>
                  <a:ea typeface="맑은 고딕" panose="020B0503020000020004" pitchFamily="50" charset="-127"/>
                  <a:cs typeface="+mn-cs"/>
                </a:endParaRPr>
              </a:p>
            </p:txBody>
          </p:sp>
        </p:grpSp>
      </p:grpSp>
      <p:sp>
        <p:nvSpPr>
          <p:cNvPr id="2" name="오른쪽 화살표 1"/>
          <p:cNvSpPr/>
          <p:nvPr/>
        </p:nvSpPr>
        <p:spPr>
          <a:xfrm rot="10800000">
            <a:off x="11622614" y="6412474"/>
            <a:ext cx="468052" cy="387443"/>
          </a:xfrm>
          <a:prstGeom prst="rightArrow">
            <a:avLst/>
          </a:prstGeom>
          <a:solidFill>
            <a:srgbClr val="B2B2B2"/>
          </a:solidFill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587610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35360" y="98395"/>
            <a:ext cx="63786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Appendix 2. System Context View </a:t>
            </a:r>
            <a:r>
              <a:rPr lang="ko-KR" altLang="en-US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기반 조직간 </a:t>
            </a:r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R&amp;R</a:t>
            </a:r>
          </a:p>
        </p:txBody>
      </p:sp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4431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각 모듈의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sponsibility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000" dirty="0">
              <a:solidFill>
                <a:srgbClr val="00B05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  <p:grpSp>
        <p:nvGrpSpPr>
          <p:cNvPr id="57" name="그룹 56"/>
          <p:cNvGrpSpPr/>
          <p:nvPr/>
        </p:nvGrpSpPr>
        <p:grpSpPr>
          <a:xfrm>
            <a:off x="731813" y="978978"/>
            <a:ext cx="8208503" cy="5690382"/>
            <a:chOff x="1758459" y="914400"/>
            <a:chExt cx="8208503" cy="5690382"/>
          </a:xfrm>
        </p:grpSpPr>
        <p:sp>
          <p:nvSpPr>
            <p:cNvPr id="58" name="직사각형 57"/>
            <p:cNvSpPr/>
            <p:nvPr/>
          </p:nvSpPr>
          <p:spPr>
            <a:xfrm>
              <a:off x="1758459" y="914400"/>
              <a:ext cx="8208502" cy="4121834"/>
            </a:xfrm>
            <a:prstGeom prst="rect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스마트체2.0 SemiBold" panose="020B0600000101010101" pitchFamily="50" charset="-127"/>
                  <a:ea typeface="LG스마트체2.0 SemiBold" panose="020B0600000101010101" pitchFamily="50" charset="-127"/>
                  <a:cs typeface="+mn-cs"/>
                </a:rPr>
                <a:t>LG</a:t>
              </a:r>
              <a:r>
                <a:rPr kumimoji="0" lang="ko-KR" alt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스마트체2.0 SemiBold" panose="020B0600000101010101" pitchFamily="50" charset="-127"/>
                  <a:ea typeface="LG스마트체2.0 SemiBold" panose="020B0600000101010101" pitchFamily="50" charset="-127"/>
                  <a:cs typeface="+mn-cs"/>
                </a:rPr>
                <a:t>전자 수주 </a:t>
              </a:r>
              <a:r>
                <a:rPr kumimoji="0" lang="en-US" altLang="ko-KR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스마트체2.0 SemiBold" panose="020B0600000101010101" pitchFamily="50" charset="-127"/>
                  <a:ea typeface="LG스마트체2.0 SemiBold" panose="020B0600000101010101" pitchFamily="50" charset="-127"/>
                  <a:cs typeface="+mn-cs"/>
                </a:rPr>
                <a:t>ECU : </a:t>
              </a:r>
              <a:r>
                <a:rPr kumimoji="0" lang="en-US" altLang="ko-KR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스마트체2.0 SemiBold" panose="020B0600000101010101" pitchFamily="50" charset="-127"/>
                  <a:ea typeface="LG스마트체2.0 SemiBold" panose="020B0600000101010101" pitchFamily="50" charset="-127"/>
                  <a:cs typeface="+mn-cs"/>
                </a:rPr>
                <a:t>Telemetics</a:t>
              </a:r>
              <a:endPara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n-cs"/>
              </a:endParaRPr>
            </a:p>
          </p:txBody>
        </p:sp>
        <p:sp>
          <p:nvSpPr>
            <p:cNvPr id="59" name="직사각형 58"/>
            <p:cNvSpPr/>
            <p:nvPr/>
          </p:nvSpPr>
          <p:spPr>
            <a:xfrm>
              <a:off x="2764957" y="4579764"/>
              <a:ext cx="359585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스마트체2.0 SemiBold" panose="020B0600000101010101" pitchFamily="50" charset="-127"/>
                  <a:ea typeface="LG스마트체2.0 SemiBold" panose="020B0600000101010101" pitchFamily="50" charset="-127"/>
                </a:rPr>
                <a:t>(Responsibility : CTO Automotive Platform Task)</a:t>
              </a:r>
              <a:endPara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</a:endParaRPr>
            </a:p>
          </p:txBody>
        </p:sp>
        <p:sp>
          <p:nvSpPr>
            <p:cNvPr id="60" name="직사각형 59"/>
            <p:cNvSpPr/>
            <p:nvPr/>
          </p:nvSpPr>
          <p:spPr>
            <a:xfrm>
              <a:off x="4477754" y="3836323"/>
              <a:ext cx="180000" cy="18000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n-cs"/>
              </a:endParaRPr>
            </a:p>
          </p:txBody>
        </p:sp>
        <p:sp>
          <p:nvSpPr>
            <p:cNvPr id="61" name="직사각형 60"/>
            <p:cNvSpPr/>
            <p:nvPr/>
          </p:nvSpPr>
          <p:spPr>
            <a:xfrm>
              <a:off x="3178391" y="3836323"/>
              <a:ext cx="180000" cy="18000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n-cs"/>
              </a:endParaRPr>
            </a:p>
          </p:txBody>
        </p:sp>
        <p:sp>
          <p:nvSpPr>
            <p:cNvPr id="62" name="직사각형 61"/>
            <p:cNvSpPr/>
            <p:nvPr/>
          </p:nvSpPr>
          <p:spPr>
            <a:xfrm>
              <a:off x="5772708" y="3836323"/>
              <a:ext cx="180000" cy="18000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n-cs"/>
              </a:endParaRPr>
            </a:p>
          </p:txBody>
        </p:sp>
        <p:sp>
          <p:nvSpPr>
            <p:cNvPr id="63" name="직사각형 62"/>
            <p:cNvSpPr/>
            <p:nvPr/>
          </p:nvSpPr>
          <p:spPr>
            <a:xfrm>
              <a:off x="3178391" y="2140967"/>
              <a:ext cx="180000" cy="18000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n-cs"/>
              </a:endParaRPr>
            </a:p>
          </p:txBody>
        </p:sp>
        <p:sp>
          <p:nvSpPr>
            <p:cNvPr id="64" name="직사각형 63"/>
            <p:cNvSpPr/>
            <p:nvPr/>
          </p:nvSpPr>
          <p:spPr>
            <a:xfrm>
              <a:off x="5772708" y="2140967"/>
              <a:ext cx="180000" cy="18000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n-cs"/>
              </a:endParaRPr>
            </a:p>
          </p:txBody>
        </p:sp>
        <p:sp>
          <p:nvSpPr>
            <p:cNvPr id="65" name="직사각형 64"/>
            <p:cNvSpPr/>
            <p:nvPr/>
          </p:nvSpPr>
          <p:spPr>
            <a:xfrm>
              <a:off x="8367025" y="2140967"/>
              <a:ext cx="180000" cy="18000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n-cs"/>
              </a:endParaRPr>
            </a:p>
          </p:txBody>
        </p:sp>
        <p:sp>
          <p:nvSpPr>
            <p:cNvPr id="66" name="직사각형 65"/>
            <p:cNvSpPr/>
            <p:nvPr/>
          </p:nvSpPr>
          <p:spPr>
            <a:xfrm>
              <a:off x="6767090" y="4165473"/>
              <a:ext cx="180000" cy="18000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n-cs"/>
              </a:endParaRPr>
            </a:p>
          </p:txBody>
        </p:sp>
        <p:sp>
          <p:nvSpPr>
            <p:cNvPr id="67" name="직사각형 66"/>
            <p:cNvSpPr/>
            <p:nvPr/>
          </p:nvSpPr>
          <p:spPr>
            <a:xfrm>
              <a:off x="7367314" y="4165473"/>
              <a:ext cx="180000" cy="18000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n-cs"/>
              </a:endParaRPr>
            </a:p>
          </p:txBody>
        </p:sp>
        <p:cxnSp>
          <p:nvCxnSpPr>
            <p:cNvPr id="68" name="직선 연결선 67"/>
            <p:cNvCxnSpPr>
              <a:stCxn id="61" idx="0"/>
              <a:endCxn id="63" idx="2"/>
            </p:cNvCxnSpPr>
            <p:nvPr/>
          </p:nvCxnSpPr>
          <p:spPr>
            <a:xfrm flipV="1">
              <a:off x="3268391" y="2320967"/>
              <a:ext cx="0" cy="1515356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69" name="직선 연결선 68"/>
            <p:cNvCxnSpPr>
              <a:stCxn id="66" idx="3"/>
              <a:endCxn id="67" idx="1"/>
            </p:cNvCxnSpPr>
            <p:nvPr/>
          </p:nvCxnSpPr>
          <p:spPr>
            <a:xfrm>
              <a:off x="6947090" y="4255473"/>
              <a:ext cx="420224" cy="0"/>
            </a:xfrm>
            <a:prstGeom prst="line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70" name="꺾인 연결선 69"/>
            <p:cNvCxnSpPr>
              <a:stCxn id="60" idx="0"/>
              <a:endCxn id="65" idx="2"/>
            </p:cNvCxnSpPr>
            <p:nvPr/>
          </p:nvCxnSpPr>
          <p:spPr>
            <a:xfrm rot="5400000" flipH="1" flipV="1">
              <a:off x="5754711" y="1134010"/>
              <a:ext cx="1515356" cy="3889271"/>
            </a:xfrm>
            <a:prstGeom prst="bentConnector3">
              <a:avLst>
                <a:gd name="adj1" fmla="val 50000"/>
              </a:avLst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sp>
          <p:nvSpPr>
            <p:cNvPr id="71" name="직사각형 70"/>
            <p:cNvSpPr/>
            <p:nvPr/>
          </p:nvSpPr>
          <p:spPr>
            <a:xfrm>
              <a:off x="7058244" y="4579764"/>
              <a:ext cx="279756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스마트체2.0 SemiBold" panose="020B0600000101010101" pitchFamily="50" charset="-127"/>
                  <a:ea typeface="LG스마트체2.0 SemiBold" panose="020B0600000101010101" pitchFamily="50" charset="-127"/>
                </a:rPr>
                <a:t>(Responsibility : VS Core Framework)</a:t>
              </a:r>
              <a:endPara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</a:endParaRPr>
            </a:p>
          </p:txBody>
        </p:sp>
        <p:cxnSp>
          <p:nvCxnSpPr>
            <p:cNvPr id="72" name="직선 연결선 71"/>
            <p:cNvCxnSpPr>
              <a:stCxn id="62" idx="0"/>
              <a:endCxn id="64" idx="2"/>
            </p:cNvCxnSpPr>
            <p:nvPr/>
          </p:nvCxnSpPr>
          <p:spPr>
            <a:xfrm flipV="1">
              <a:off x="5862708" y="2320967"/>
              <a:ext cx="0" cy="1515356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sp>
          <p:nvSpPr>
            <p:cNvPr id="73" name="직사각형 72"/>
            <p:cNvSpPr/>
            <p:nvPr/>
          </p:nvSpPr>
          <p:spPr>
            <a:xfrm>
              <a:off x="4369354" y="1314593"/>
              <a:ext cx="2986715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스마트체2.0 SemiBold" panose="020B0600000101010101" pitchFamily="50" charset="-127"/>
                  <a:ea typeface="LG스마트체2.0 SemiBold" panose="020B0600000101010101" pitchFamily="50" charset="-127"/>
                </a:rPr>
                <a:t>(Responsibility : VS OTA &amp; Update Unit)</a:t>
              </a:r>
              <a:endParaRPr kumimoji="0" lang="ko-KR" alt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</a:endParaRPr>
            </a:p>
          </p:txBody>
        </p:sp>
        <p:sp>
          <p:nvSpPr>
            <p:cNvPr id="74" name="직사각형 73">
              <a:extLst>
                <a:ext uri="{FF2B5EF4-FFF2-40B4-BE49-F238E27FC236}">
                  <a16:creationId xmlns:a16="http://schemas.microsoft.com/office/drawing/2014/main" id="{563D3819-47AB-AFDA-3922-6AFCE3C612DA}"/>
                </a:ext>
              </a:extLst>
            </p:cNvPr>
            <p:cNvSpPr/>
            <p:nvPr/>
          </p:nvSpPr>
          <p:spPr>
            <a:xfrm>
              <a:off x="1758460" y="5121375"/>
              <a:ext cx="8208502" cy="1483407"/>
            </a:xfrm>
            <a:prstGeom prst="rect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aytona" panose="020B0604020202020204" pitchFamily="34" charset="0"/>
                  <a:ea typeface="맑은 고딕" panose="020B0503020000020004" pitchFamily="50" charset="-127"/>
                  <a:cs typeface="+mn-cs"/>
                </a:rPr>
                <a:t>Key</a:t>
              </a:r>
            </a:p>
            <a:p>
              <a:pPr marL="0" marR="0" lvl="0" indent="0" defTabSz="914400" eaLnBrk="1" fontAlgn="auto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aytona" panose="020B0604020202020204" pitchFamily="34" charset="0"/>
                  <a:ea typeface="맑은 고딕" panose="020B0503020000020004" pitchFamily="50" charset="-127"/>
                  <a:cs typeface="+mn-cs"/>
                </a:rPr>
                <a:t>             Adaptive AUTOSAR Functional Cluster, Responsibility : </a:t>
              </a: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Daytona" panose="020B0604020202020204" pitchFamily="34" charset="0"/>
                  <a:ea typeface="맑은 고딕" panose="020B0503020000020004" pitchFamily="50" charset="-127"/>
                  <a:cs typeface="+mn-cs"/>
                </a:rPr>
                <a:t>CTO / Automotive Platform Task</a:t>
              </a:r>
            </a:p>
            <a:p>
              <a:pPr marL="0" marR="0" lvl="0" indent="0" defTabSz="914400" eaLnBrk="1" fontAlgn="auto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aytona" panose="020B0604020202020204" pitchFamily="34" charset="0"/>
                  <a:ea typeface="맑은 고딕" panose="020B0503020000020004" pitchFamily="50" charset="-127"/>
                  <a:cs typeface="+mn-cs"/>
                </a:rPr>
                <a:t>             Adaptive AUTOSAR Functional Cluster, Responsibility : VS / Core Framework Unit</a:t>
              </a:r>
            </a:p>
            <a:p>
              <a:pPr marL="0" marR="0" lvl="0" indent="0" defTabSz="914400" eaLnBrk="1" fontAlgn="auto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aytona" panose="020B0604020202020204" pitchFamily="34" charset="0"/>
                  <a:ea typeface="맑은 고딕" panose="020B0503020000020004" pitchFamily="50" charset="-127"/>
                  <a:cs typeface="+mn-cs"/>
                </a:rPr>
                <a:t>             Adaptive AUTOSAR Application, Responsibility : VS / OTA &amp; Update Unit</a:t>
              </a:r>
            </a:p>
            <a:p>
              <a:pPr marL="0" marR="0" lvl="0" indent="0" defTabSz="914400" eaLnBrk="1" fontAlgn="auto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aytona" panose="020B0604020202020204" pitchFamily="34" charset="0"/>
                  <a:ea typeface="맑은 고딕" panose="020B0503020000020004" pitchFamily="50" charset="-127"/>
                  <a:cs typeface="+mn-cs"/>
                </a:rPr>
                <a:t>             communication port (</a:t>
              </a:r>
              <a:r>
                <a:rPr kumimoji="0" lang="en-US" altLang="ko-KR" sz="10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aytona" panose="020B0604020202020204" pitchFamily="34" charset="0"/>
                  <a:ea typeface="맑은 고딕" panose="020B0503020000020004" pitchFamily="50" charset="-127"/>
                  <a:cs typeface="+mn-cs"/>
                </a:rPr>
                <a:t>ara</a:t>
              </a: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aytona" panose="020B0604020202020204" pitchFamily="34" charset="0"/>
                  <a:ea typeface="맑은 고딕" panose="020B0503020000020004" pitchFamily="50" charset="-127"/>
                  <a:cs typeface="+mn-cs"/>
                </a:rPr>
                <a:t>::com)</a:t>
              </a:r>
            </a:p>
            <a:p>
              <a:pPr marL="0" marR="0" lvl="0" indent="0" defTabSz="914400" eaLnBrk="1" fontAlgn="auto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aytona" panose="020B0604020202020204" pitchFamily="34" charset="0"/>
                  <a:ea typeface="맑은 고딕" panose="020B0503020000020004" pitchFamily="50" charset="-127"/>
                  <a:cs typeface="+mn-cs"/>
                </a:rPr>
                <a:t>             Data flow</a:t>
              </a:r>
            </a:p>
          </p:txBody>
        </p:sp>
        <p:sp>
          <p:nvSpPr>
            <p:cNvPr id="75" name="직사각형 74">
              <a:extLst>
                <a:ext uri="{FF2B5EF4-FFF2-40B4-BE49-F238E27FC236}">
                  <a16:creationId xmlns:a16="http://schemas.microsoft.com/office/drawing/2014/main" id="{D3B2E71E-3EAC-8284-B9F9-C8DA06C9F8F4}"/>
                </a:ext>
              </a:extLst>
            </p:cNvPr>
            <p:cNvSpPr/>
            <p:nvPr/>
          </p:nvSpPr>
          <p:spPr>
            <a:xfrm>
              <a:off x="1858805" y="5482209"/>
              <a:ext cx="345621" cy="157066"/>
            </a:xfrm>
            <a:prstGeom prst="rect">
              <a:avLst/>
            </a:prstGeom>
            <a:gradFill rotWithShape="1">
              <a:gsLst>
                <a:gs pos="0">
                  <a:srgbClr val="ED7D31">
                    <a:lumMod val="110000"/>
                    <a:satMod val="105000"/>
                    <a:tint val="67000"/>
                  </a:srgbClr>
                </a:gs>
                <a:gs pos="50000">
                  <a:srgbClr val="ED7D31">
                    <a:lumMod val="105000"/>
                    <a:satMod val="103000"/>
                    <a:tint val="73000"/>
                  </a:srgbClr>
                </a:gs>
                <a:gs pos="100000">
                  <a:srgbClr val="ED7D31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ytona" panose="020B0604030500040204" pitchFamily="34" charset="0"/>
                <a:ea typeface="맑은 고딕" panose="020B0503020000020004" pitchFamily="50" charset="-127"/>
                <a:cs typeface="+mn-cs"/>
              </a:endParaRPr>
            </a:p>
          </p:txBody>
        </p:sp>
        <p:cxnSp>
          <p:nvCxnSpPr>
            <p:cNvPr id="76" name="직선 연결선 75">
              <a:extLst>
                <a:ext uri="{FF2B5EF4-FFF2-40B4-BE49-F238E27FC236}">
                  <a16:creationId xmlns:a16="http://schemas.microsoft.com/office/drawing/2014/main" id="{198E82D6-9B8E-C4F4-9A8A-D7AEAD3521BF}"/>
                </a:ext>
              </a:extLst>
            </p:cNvPr>
            <p:cNvCxnSpPr>
              <a:cxnSpLocks/>
            </p:cNvCxnSpPr>
            <p:nvPr/>
          </p:nvCxnSpPr>
          <p:spPr>
            <a:xfrm>
              <a:off x="1850593" y="6530110"/>
              <a:ext cx="348061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  <a:tailEnd type="none"/>
            </a:ln>
            <a:effectLst/>
          </p:spPr>
        </p:cxnSp>
        <p:sp>
          <p:nvSpPr>
            <p:cNvPr id="77" name="직사각형 76">
              <a:extLst>
                <a:ext uri="{FF2B5EF4-FFF2-40B4-BE49-F238E27FC236}">
                  <a16:creationId xmlns:a16="http://schemas.microsoft.com/office/drawing/2014/main" id="{EFCF43DF-4C4E-90D6-3E6F-EA1C10E82F20}"/>
                </a:ext>
              </a:extLst>
            </p:cNvPr>
            <p:cNvSpPr/>
            <p:nvPr/>
          </p:nvSpPr>
          <p:spPr>
            <a:xfrm>
              <a:off x="1858804" y="5977136"/>
              <a:ext cx="345621" cy="158400"/>
            </a:xfrm>
            <a:prstGeom prst="rect">
              <a:avLst/>
            </a:prstGeom>
            <a:solidFill>
              <a:srgbClr val="70AD47"/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ytona" panose="020B0604030500040204" pitchFamily="34" charset="0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8" name="직사각형 77"/>
            <p:cNvSpPr/>
            <p:nvPr/>
          </p:nvSpPr>
          <p:spPr>
            <a:xfrm>
              <a:off x="2358680" y="4016323"/>
              <a:ext cx="4408410" cy="478300"/>
            </a:xfrm>
            <a:prstGeom prst="rect">
              <a:avLst/>
            </a:prstGeom>
            <a:gradFill rotWithShape="1">
              <a:gsLst>
                <a:gs pos="0">
                  <a:srgbClr val="ED7D31">
                    <a:lumMod val="110000"/>
                    <a:satMod val="105000"/>
                    <a:tint val="67000"/>
                  </a:srgbClr>
                </a:gs>
                <a:gs pos="50000">
                  <a:srgbClr val="ED7D31">
                    <a:lumMod val="105000"/>
                    <a:satMod val="103000"/>
                    <a:tint val="73000"/>
                  </a:srgbClr>
                </a:gs>
                <a:gs pos="100000">
                  <a:srgbClr val="ED7D31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ytona" panose="020B0604030500040204" pitchFamily="34" charset="0"/>
                  <a:ea typeface="맑은 고딕" panose="020B0503020000020004" pitchFamily="50" charset="-127"/>
                  <a:cs typeface="+mn-cs"/>
                </a:rPr>
                <a:t>UCM Master</a:t>
              </a:r>
            </a:p>
          </p:txBody>
        </p:sp>
        <p:sp>
          <p:nvSpPr>
            <p:cNvPr id="79" name="직사각형 78"/>
            <p:cNvSpPr/>
            <p:nvPr/>
          </p:nvSpPr>
          <p:spPr>
            <a:xfrm>
              <a:off x="2358680" y="1662667"/>
              <a:ext cx="1819423" cy="478300"/>
            </a:xfrm>
            <a:prstGeom prst="rect">
              <a:avLst/>
            </a:prstGeom>
            <a:solidFill>
              <a:srgbClr val="70AD47"/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ytona" panose="020B0604030500040204" pitchFamily="34" charset="0"/>
                  <a:ea typeface="맑은 고딕" panose="020B0503020000020004" pitchFamily="50" charset="-127"/>
                  <a:cs typeface="+mn-cs"/>
                </a:rPr>
                <a:t>OTA Client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ytona" panose="020B0604030500040204" pitchFamily="34" charset="0"/>
                  <a:ea typeface="맑은 고딕" panose="020B0503020000020004" pitchFamily="50" charset="-127"/>
                  <a:cs typeface="+mn-cs"/>
                </a:rPr>
                <a:t>Application</a:t>
              </a:r>
            </a:p>
          </p:txBody>
        </p:sp>
        <p:sp>
          <p:nvSpPr>
            <p:cNvPr id="80" name="직사각형 79"/>
            <p:cNvSpPr/>
            <p:nvPr/>
          </p:nvSpPr>
          <p:spPr>
            <a:xfrm>
              <a:off x="4952997" y="1662667"/>
              <a:ext cx="1819423" cy="478300"/>
            </a:xfrm>
            <a:prstGeom prst="rect">
              <a:avLst/>
            </a:prstGeom>
            <a:solidFill>
              <a:srgbClr val="70AD47"/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ytona" panose="020B0604030500040204" pitchFamily="34" charset="0"/>
                  <a:ea typeface="맑은 고딕" panose="020B0503020000020004" pitchFamily="50" charset="-127"/>
                  <a:cs typeface="+mn-cs"/>
                </a:rPr>
                <a:t>Vehicle Driver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ytona" panose="020B0604030500040204" pitchFamily="34" charset="0"/>
                  <a:ea typeface="맑은 고딕" panose="020B0503020000020004" pitchFamily="50" charset="-127"/>
                  <a:cs typeface="+mn-cs"/>
                </a:rPr>
                <a:t>Application</a:t>
              </a:r>
            </a:p>
          </p:txBody>
        </p:sp>
        <p:sp>
          <p:nvSpPr>
            <p:cNvPr id="81" name="직사각형 80"/>
            <p:cNvSpPr/>
            <p:nvPr/>
          </p:nvSpPr>
          <p:spPr>
            <a:xfrm>
              <a:off x="7547314" y="1662667"/>
              <a:ext cx="1819423" cy="478300"/>
            </a:xfrm>
            <a:prstGeom prst="rect">
              <a:avLst/>
            </a:prstGeom>
            <a:solidFill>
              <a:srgbClr val="70AD47"/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ytona" panose="020B0604030500040204" pitchFamily="34" charset="0"/>
                  <a:ea typeface="맑은 고딕" panose="020B0503020000020004" pitchFamily="50" charset="-127"/>
                  <a:cs typeface="+mn-cs"/>
                </a:rPr>
                <a:t>Vehicle State Manager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ytona" panose="020B0604030500040204" pitchFamily="34" charset="0"/>
                  <a:ea typeface="맑은 고딕" panose="020B0503020000020004" pitchFamily="50" charset="-127"/>
                  <a:cs typeface="+mn-cs"/>
                </a:rPr>
                <a:t>Application</a:t>
              </a:r>
            </a:p>
          </p:txBody>
        </p:sp>
        <p:sp>
          <p:nvSpPr>
            <p:cNvPr id="82" name="직사각형 81"/>
            <p:cNvSpPr/>
            <p:nvPr/>
          </p:nvSpPr>
          <p:spPr>
            <a:xfrm>
              <a:off x="7547314" y="4016323"/>
              <a:ext cx="1819423" cy="478300"/>
            </a:xfrm>
            <a:prstGeom prst="rect">
              <a:avLst/>
            </a:prstGeom>
            <a:solidFill>
              <a:srgbClr val="FFC000"/>
            </a:solidFill>
            <a:ln w="12700" cap="flat" cmpd="sng" algn="ctr">
              <a:solidFill>
                <a:srgbClr val="FFC000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스마트체2.0 SemiBold" panose="020B0600000101010101" pitchFamily="50" charset="-127"/>
                  <a:ea typeface="LG스마트체2.0 SemiBold" panose="020B0600000101010101" pitchFamily="50" charset="-127"/>
                  <a:cs typeface="+mn-cs"/>
                </a:rPr>
                <a:t>UCM Subordinate</a:t>
              </a:r>
            </a:p>
          </p:txBody>
        </p:sp>
        <p:sp>
          <p:nvSpPr>
            <p:cNvPr id="83" name="직사각형 82"/>
            <p:cNvSpPr/>
            <p:nvPr/>
          </p:nvSpPr>
          <p:spPr>
            <a:xfrm>
              <a:off x="1858804" y="5731098"/>
              <a:ext cx="345600" cy="158400"/>
            </a:xfrm>
            <a:prstGeom prst="rect">
              <a:avLst/>
            </a:prstGeom>
            <a:solidFill>
              <a:srgbClr val="FFC000"/>
            </a:solidFill>
            <a:ln w="12700" cap="flat" cmpd="sng" algn="ctr">
              <a:solidFill>
                <a:srgbClr val="FFC000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n-cs"/>
              </a:endParaRPr>
            </a:p>
          </p:txBody>
        </p:sp>
        <p:sp>
          <p:nvSpPr>
            <p:cNvPr id="84" name="직사각형 83"/>
            <p:cNvSpPr/>
            <p:nvPr/>
          </p:nvSpPr>
          <p:spPr>
            <a:xfrm>
              <a:off x="1952623" y="6227359"/>
              <a:ext cx="144000" cy="14400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n-cs"/>
              </a:endParaRPr>
            </a:p>
          </p:txBody>
        </p:sp>
      </p:grpSp>
      <p:sp>
        <p:nvSpPr>
          <p:cNvPr id="32" name="오른쪽 화살표 31">
            <a:hlinkClick r:id="rId2" action="ppaction://hlinksldjump"/>
          </p:cNvPr>
          <p:cNvSpPr/>
          <p:nvPr/>
        </p:nvSpPr>
        <p:spPr>
          <a:xfrm rot="10800000">
            <a:off x="11622614" y="6412474"/>
            <a:ext cx="468052" cy="387443"/>
          </a:xfrm>
          <a:prstGeom prst="rightArrow">
            <a:avLst/>
          </a:prstGeom>
          <a:solidFill>
            <a:srgbClr val="B2B2B2"/>
          </a:solidFill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4857717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35360" y="98395"/>
            <a:ext cx="63786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Appendix 3. Project </a:t>
            </a:r>
            <a:r>
              <a:rPr lang="ko-KR" altLang="en-US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참여 인원 구성</a:t>
            </a:r>
            <a:endParaRPr lang="en-US" altLang="ko-KR" sz="1800" dirty="0">
              <a:solidFill>
                <a:prstClr val="black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4431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인원 구성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000" dirty="0">
              <a:solidFill>
                <a:srgbClr val="00B05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  <p:graphicFrame>
        <p:nvGraphicFramePr>
          <p:cNvPr id="32" name="표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1417242"/>
              </p:ext>
            </p:extLst>
          </p:nvPr>
        </p:nvGraphicFramePr>
        <p:xfrm>
          <a:off x="695400" y="1016732"/>
          <a:ext cx="8820980" cy="2682240"/>
        </p:xfrm>
        <a:graphic>
          <a:graphicData uri="http://schemas.openxmlformats.org/drawingml/2006/table">
            <a:tbl>
              <a:tblPr firstRow="1" firstCol="1" bandRow="1"/>
              <a:tblGrid>
                <a:gridCol w="1950470">
                  <a:extLst>
                    <a:ext uri="{9D8B030D-6E8A-4147-A177-3AD203B41FA5}">
                      <a16:colId xmlns:a16="http://schemas.microsoft.com/office/drawing/2014/main" val="3713388902"/>
                    </a:ext>
                  </a:extLst>
                </a:gridCol>
                <a:gridCol w="6870510">
                  <a:extLst>
                    <a:ext uri="{9D8B030D-6E8A-4147-A177-3AD203B41FA5}">
                      <a16:colId xmlns:a16="http://schemas.microsoft.com/office/drawing/2014/main" val="244577044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400" dirty="0" err="1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조직명</a:t>
                      </a:r>
                      <a:endParaRPr lang="en-US" sz="14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CTO Division</a:t>
                      </a:r>
                      <a:r>
                        <a:rPr lang="en-US" sz="1400" baseline="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/ Software Center /</a:t>
                      </a:r>
                      <a:br>
                        <a:rPr lang="en-US" sz="1400" baseline="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</a:br>
                      <a:r>
                        <a:rPr lang="en-US" sz="1400" baseline="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Software Platform (</a:t>
                      </a:r>
                      <a:r>
                        <a:rPr lang="ko-KR" altLang="en-US" sz="1400" baseline="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연구소</a:t>
                      </a:r>
                      <a:r>
                        <a:rPr lang="en-US" altLang="ko-KR" sz="1400" baseline="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) / Automotive Platform Task</a:t>
                      </a:r>
                      <a:endParaRPr lang="en-US" sz="14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17894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Task Leader</a:t>
                      </a: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400" dirty="0" err="1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민성욱</a:t>
                      </a:r>
                      <a:r>
                        <a:rPr lang="ko-KR" altLang="en-US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책임연구원</a:t>
                      </a:r>
                      <a:endParaRPr lang="en-US" sz="14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8188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Project</a:t>
                      </a:r>
                      <a:r>
                        <a:rPr lang="en-US" sz="1400" b="1" kern="100" baseline="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Leader</a:t>
                      </a:r>
                      <a:endParaRPr lang="en-US" sz="14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4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400" kern="1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류성근</a:t>
                      </a:r>
                      <a:r>
                        <a:rPr lang="ko-KR" altLang="en-US" sz="14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책임연구원</a:t>
                      </a:r>
                      <a:endParaRPr lang="en-US" sz="14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48282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Software Architect</a:t>
                      </a: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4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400" kern="100" dirty="0" err="1">
                          <a:solidFill>
                            <a:srgbClr val="00B05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박창훈</a:t>
                      </a:r>
                      <a:r>
                        <a:rPr lang="ko-KR" altLang="en-US" sz="1400" kern="100" dirty="0">
                          <a:solidFill>
                            <a:srgbClr val="00B05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책임연구원</a:t>
                      </a:r>
                      <a:r>
                        <a:rPr lang="ko-KR" altLang="en-US" sz="14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14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(Function</a:t>
                      </a:r>
                      <a:r>
                        <a:rPr lang="en-US" altLang="ko-KR" sz="1400" kern="100" baseline="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Owner(</a:t>
                      </a:r>
                      <a:r>
                        <a:rPr lang="ko-KR" altLang="en-US" sz="14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대외 </a:t>
                      </a:r>
                      <a:r>
                        <a:rPr lang="en-US" altLang="ko-KR" sz="14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Communication),</a:t>
                      </a:r>
                      <a:r>
                        <a:rPr lang="en-US" altLang="ko-KR" sz="1400" kern="100" baseline="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14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quirement </a:t>
                      </a:r>
                      <a:r>
                        <a:rPr lang="ko-KR" altLang="en-US" sz="14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분석</a:t>
                      </a:r>
                      <a:r>
                        <a:rPr lang="en-US" altLang="ko-KR" sz="14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 SAD </a:t>
                      </a:r>
                      <a:r>
                        <a:rPr lang="ko-KR" altLang="en-US" sz="14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작성</a:t>
                      </a:r>
                      <a:r>
                        <a:rPr lang="en-US" altLang="ko-KR" sz="14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en-US" sz="14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6405767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Software Developer</a:t>
                      </a: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</a:t>
                      </a:r>
                      <a:r>
                        <a:rPr lang="ko-KR" altLang="en-US" sz="1400" dirty="0" err="1">
                          <a:solidFill>
                            <a:srgbClr val="00B05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박창훈</a:t>
                      </a:r>
                      <a:r>
                        <a:rPr lang="ko-KR" altLang="en-US" sz="1400" dirty="0">
                          <a:solidFill>
                            <a:srgbClr val="00B05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책임연구원</a:t>
                      </a:r>
                      <a:r>
                        <a:rPr lang="ko-KR" altLang="en-US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</a:t>
                      </a:r>
                      <a:r>
                        <a:rPr lang="en-US" altLang="ko-KR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(SDD</a:t>
                      </a:r>
                      <a:r>
                        <a:rPr lang="en-US" altLang="ko-KR" sz="1400" baseline="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</a:t>
                      </a:r>
                      <a:r>
                        <a:rPr lang="ko-KR" altLang="en-US" sz="1400" baseline="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작성</a:t>
                      </a:r>
                      <a:r>
                        <a:rPr lang="en-US" altLang="ko-KR" sz="1400" baseline="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,</a:t>
                      </a:r>
                      <a:r>
                        <a:rPr lang="ko-KR" altLang="en-US" sz="1400" baseline="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</a:t>
                      </a:r>
                      <a:r>
                        <a:rPr lang="en-US" altLang="ko-KR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UCM Master Interface </a:t>
                      </a:r>
                      <a:r>
                        <a:rPr lang="ko-KR" altLang="en-US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구현</a:t>
                      </a:r>
                      <a:r>
                        <a:rPr lang="en-US" altLang="ko-KR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)</a:t>
                      </a:r>
                      <a:endParaRPr lang="en-US" sz="14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474869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</a:t>
                      </a:r>
                      <a:r>
                        <a:rPr lang="ko-KR" altLang="en-US" sz="1400" dirty="0" err="1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구본강</a:t>
                      </a:r>
                      <a:r>
                        <a:rPr lang="ko-KR" altLang="en-US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책임연구원 </a:t>
                      </a:r>
                      <a:r>
                        <a:rPr lang="en-US" altLang="ko-KR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(SDD </a:t>
                      </a:r>
                      <a:r>
                        <a:rPr lang="ko-KR" altLang="en-US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작성</a:t>
                      </a:r>
                      <a:r>
                        <a:rPr lang="en-US" altLang="ko-KR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, UCM Master Feature </a:t>
                      </a:r>
                      <a:r>
                        <a:rPr lang="ko-KR" altLang="en-US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구현</a:t>
                      </a:r>
                      <a:r>
                        <a:rPr lang="en-US" altLang="ko-KR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)</a:t>
                      </a:r>
                      <a:endParaRPr lang="en-US" sz="14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017713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/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</a:t>
                      </a:r>
                      <a:r>
                        <a:rPr lang="ko-KR" altLang="en-US" sz="1400" dirty="0" err="1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명혁</a:t>
                      </a:r>
                      <a:r>
                        <a:rPr lang="ko-KR" altLang="en-US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책임연구원 </a:t>
                      </a:r>
                      <a:r>
                        <a:rPr lang="en-US" altLang="ko-KR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(SDD </a:t>
                      </a:r>
                      <a:r>
                        <a:rPr lang="ko-KR" altLang="en-US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작성</a:t>
                      </a:r>
                      <a:r>
                        <a:rPr lang="en-US" altLang="ko-KR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, UCM Master Feature </a:t>
                      </a:r>
                      <a:r>
                        <a:rPr lang="ko-KR" altLang="en-US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구현</a:t>
                      </a:r>
                      <a:r>
                        <a:rPr lang="en-US" altLang="ko-KR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)</a:t>
                      </a:r>
                      <a:endParaRPr lang="en-US" sz="14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8745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Software Tester</a:t>
                      </a: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협력업체 직원 </a:t>
                      </a:r>
                      <a:r>
                        <a:rPr lang="en-US" altLang="ko-KR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2</a:t>
                      </a:r>
                      <a:r>
                        <a:rPr lang="ko-KR" altLang="en-US" sz="14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명</a:t>
                      </a:r>
                      <a:endParaRPr lang="en-US" sz="14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5525433"/>
                  </a:ext>
                </a:extLst>
              </a:tr>
            </a:tbl>
          </a:graphicData>
        </a:graphic>
      </p:graphicFrame>
      <p:sp>
        <p:nvSpPr>
          <p:cNvPr id="5" name="오른쪽 화살표 4">
            <a:hlinkClick r:id="rId2" action="ppaction://hlinksldjump"/>
          </p:cNvPr>
          <p:cNvSpPr/>
          <p:nvPr/>
        </p:nvSpPr>
        <p:spPr>
          <a:xfrm rot="10800000">
            <a:off x="11622614" y="6412474"/>
            <a:ext cx="468052" cy="387443"/>
          </a:xfrm>
          <a:prstGeom prst="rightArrow">
            <a:avLst/>
          </a:prstGeom>
          <a:solidFill>
            <a:srgbClr val="B2B2B2"/>
          </a:solidFill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5547038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Appendix 4. Utility Tree</a:t>
            </a:r>
          </a:p>
        </p:txBody>
      </p:sp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4431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tility Tree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000" dirty="0">
              <a:solidFill>
                <a:srgbClr val="00B05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  <p:grpSp>
        <p:nvGrpSpPr>
          <p:cNvPr id="182" name="그룹 181"/>
          <p:cNvGrpSpPr/>
          <p:nvPr/>
        </p:nvGrpSpPr>
        <p:grpSpPr>
          <a:xfrm>
            <a:off x="630540" y="450380"/>
            <a:ext cx="8777828" cy="6347756"/>
            <a:chOff x="302078" y="57171"/>
            <a:chExt cx="8777828" cy="6347756"/>
          </a:xfrm>
        </p:grpSpPr>
        <p:sp>
          <p:nvSpPr>
            <p:cNvPr id="183" name="직사각형 182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302078" y="2878744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Utility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184" name="직사각형 183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2683328" y="1074428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Availability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185" name="직사각형 184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2683328" y="2695957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Performance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186" name="직사각형 185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2683328" y="5085778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Security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187" name="직사각형 186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2683328" y="3882006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Extensibility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grpSp>
          <p:nvGrpSpPr>
            <p:cNvPr id="188" name="그룹 187"/>
            <p:cNvGrpSpPr/>
            <p:nvPr/>
          </p:nvGrpSpPr>
          <p:grpSpPr>
            <a:xfrm>
              <a:off x="4755968" y="671825"/>
              <a:ext cx="1629592" cy="1221616"/>
              <a:chOff x="5517968" y="1231278"/>
              <a:chExt cx="1629592" cy="1221616"/>
            </a:xfrm>
          </p:grpSpPr>
          <p:sp>
            <p:nvSpPr>
              <p:cNvPr id="239" name="직사각형 238">
                <a:extLst>
                  <a:ext uri="{FF2B5EF4-FFF2-40B4-BE49-F238E27FC236}">
                    <a16:creationId xmlns:a16="http://schemas.microsoft.com/office/drawing/2014/main" id="{69494F0D-3897-5D97-3F60-8C229CD90D11}"/>
                  </a:ext>
                </a:extLst>
              </p:cNvPr>
              <p:cNvSpPr/>
              <p:nvPr/>
            </p:nvSpPr>
            <p:spPr>
              <a:xfrm>
                <a:off x="5517968" y="1231278"/>
                <a:ext cx="1629592" cy="419100"/>
              </a:xfrm>
              <a:prstGeom prst="rect">
                <a:avLst/>
              </a:prstGeom>
              <a:noFill/>
              <a:ln w="6350" cap="flat" cmpd="sng" algn="ctr">
                <a:solidFill>
                  <a:srgbClr val="00B05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REQ-QA-UCM-05</a:t>
                </a:r>
                <a:endPara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UCM Master </a:t>
                </a:r>
                <a:r>
                  <a:rPr kumimoji="0" lang="ko-KR" alt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결함 방지</a:t>
                </a:r>
                <a:endPara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sp>
            <p:nvSpPr>
              <p:cNvPr id="240" name="직사각형 239">
                <a:extLst>
                  <a:ext uri="{FF2B5EF4-FFF2-40B4-BE49-F238E27FC236}">
                    <a16:creationId xmlns:a16="http://schemas.microsoft.com/office/drawing/2014/main" id="{69494F0D-3897-5D97-3F60-8C229CD90D11}"/>
                  </a:ext>
                </a:extLst>
              </p:cNvPr>
              <p:cNvSpPr/>
              <p:nvPr/>
            </p:nvSpPr>
            <p:spPr>
              <a:xfrm>
                <a:off x="5517968" y="2033794"/>
                <a:ext cx="1629592" cy="419100"/>
              </a:xfrm>
              <a:prstGeom prst="rect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REQ-QA-UCM-06</a:t>
                </a:r>
                <a:endPara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SW </a:t>
                </a:r>
                <a:r>
                  <a:rPr kumimoji="0" lang="ko-KR" alt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업데이트 지속성</a:t>
                </a:r>
                <a:endPara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</p:grpSp>
        <p:grpSp>
          <p:nvGrpSpPr>
            <p:cNvPr id="189" name="그룹 188"/>
            <p:cNvGrpSpPr/>
            <p:nvPr/>
          </p:nvGrpSpPr>
          <p:grpSpPr>
            <a:xfrm>
              <a:off x="4755968" y="4684520"/>
              <a:ext cx="1629592" cy="1221616"/>
              <a:chOff x="5517968" y="3638826"/>
              <a:chExt cx="1629592" cy="1221616"/>
            </a:xfrm>
          </p:grpSpPr>
          <p:sp>
            <p:nvSpPr>
              <p:cNvPr id="237" name="직사각형 236">
                <a:extLst>
                  <a:ext uri="{FF2B5EF4-FFF2-40B4-BE49-F238E27FC236}">
                    <a16:creationId xmlns:a16="http://schemas.microsoft.com/office/drawing/2014/main" id="{69494F0D-3897-5D97-3F60-8C229CD90D11}"/>
                  </a:ext>
                </a:extLst>
              </p:cNvPr>
              <p:cNvSpPr/>
              <p:nvPr/>
            </p:nvSpPr>
            <p:spPr>
              <a:xfrm>
                <a:off x="5517968" y="3638826"/>
                <a:ext cx="1629592" cy="419100"/>
              </a:xfrm>
              <a:prstGeom prst="rect">
                <a:avLst/>
              </a:prstGeom>
              <a:noFill/>
              <a:ln w="6350" cap="flat" cmpd="sng" algn="ctr">
                <a:solidFill>
                  <a:srgbClr val="00B05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REQ-QA-UCM-01</a:t>
                </a:r>
                <a:endPara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Vehicle Software Package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Integrity</a:t>
                </a:r>
                <a:endPara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sp>
            <p:nvSpPr>
              <p:cNvPr id="238" name="직사각형 237">
                <a:extLst>
                  <a:ext uri="{FF2B5EF4-FFF2-40B4-BE49-F238E27FC236}">
                    <a16:creationId xmlns:a16="http://schemas.microsoft.com/office/drawing/2014/main" id="{69494F0D-3897-5D97-3F60-8C229CD90D11}"/>
                  </a:ext>
                </a:extLst>
              </p:cNvPr>
              <p:cNvSpPr/>
              <p:nvPr/>
            </p:nvSpPr>
            <p:spPr>
              <a:xfrm>
                <a:off x="5517968" y="4441342"/>
                <a:ext cx="1629592" cy="419100"/>
              </a:xfrm>
              <a:prstGeom prst="rect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REQ-QA-UCM-02</a:t>
                </a:r>
                <a:endPara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데이터 전송 보안</a:t>
                </a:r>
              </a:p>
            </p:txBody>
          </p:sp>
        </p:grpSp>
        <p:sp>
          <p:nvSpPr>
            <p:cNvPr id="190" name="직사각형 189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4755968" y="3882006"/>
              <a:ext cx="1629592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REQ-QA-UCM-07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UCM(</a:t>
              </a:r>
              <a:r>
                <a: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가변적</a:t>
              </a: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) </a:t>
              </a:r>
              <a:r>
                <a: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관리 용이성</a:t>
              </a:r>
              <a:endParaRPr kumimoji="0" lang="en-US" altLang="ko-KR" sz="900" b="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191" name="직사각형 190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6950528" y="671825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Business : H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Technical Impact : M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192" name="직사각형 191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6950528" y="1474360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Business : L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Technical Impact : L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193" name="직사각형 192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6950528" y="2276895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Business : H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Technical Impact : M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194" name="직사각형 193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6950528" y="4684500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Business : H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Technical Impact : H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195" name="직사각형 194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6950528" y="5487036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Business : H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Technical Impact : H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196" name="직사각형 195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6950528" y="3881965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Business : M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Technical Impact : M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cxnSp>
          <p:nvCxnSpPr>
            <p:cNvPr id="197" name="직선 화살표 연결선 196"/>
            <p:cNvCxnSpPr>
              <a:stCxn id="184" idx="3"/>
              <a:endCxn id="239" idx="1"/>
            </p:cNvCxnSpPr>
            <p:nvPr/>
          </p:nvCxnSpPr>
          <p:spPr>
            <a:xfrm flipV="1">
              <a:off x="4191000" y="881375"/>
              <a:ext cx="564968" cy="402603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stealth" w="med" len="med"/>
            </a:ln>
            <a:effectLst/>
          </p:spPr>
        </p:cxnSp>
        <p:cxnSp>
          <p:nvCxnSpPr>
            <p:cNvPr id="198" name="직선 화살표 연결선 197"/>
            <p:cNvCxnSpPr>
              <a:stCxn id="184" idx="3"/>
              <a:endCxn id="240" idx="1"/>
            </p:cNvCxnSpPr>
            <p:nvPr/>
          </p:nvCxnSpPr>
          <p:spPr>
            <a:xfrm>
              <a:off x="4191000" y="1283978"/>
              <a:ext cx="564968" cy="399913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stealth" w="med" len="med"/>
            </a:ln>
            <a:effectLst/>
          </p:spPr>
        </p:cxnSp>
        <p:cxnSp>
          <p:nvCxnSpPr>
            <p:cNvPr id="199" name="직선 화살표 연결선 198"/>
            <p:cNvCxnSpPr>
              <a:stCxn id="185" idx="3"/>
              <a:endCxn id="235" idx="1"/>
            </p:cNvCxnSpPr>
            <p:nvPr/>
          </p:nvCxnSpPr>
          <p:spPr>
            <a:xfrm flipV="1">
              <a:off x="4191000" y="2486407"/>
              <a:ext cx="564968" cy="419100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stealth" w="med" len="med"/>
            </a:ln>
            <a:effectLst/>
          </p:spPr>
        </p:cxnSp>
        <p:cxnSp>
          <p:nvCxnSpPr>
            <p:cNvPr id="200" name="직선 화살표 연결선 199"/>
            <p:cNvCxnSpPr>
              <a:stCxn id="186" idx="3"/>
              <a:endCxn id="237" idx="1"/>
            </p:cNvCxnSpPr>
            <p:nvPr/>
          </p:nvCxnSpPr>
          <p:spPr>
            <a:xfrm flipV="1">
              <a:off x="4191000" y="4894070"/>
              <a:ext cx="564968" cy="401258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stealth" w="med" len="med"/>
            </a:ln>
            <a:effectLst/>
          </p:spPr>
        </p:cxnSp>
        <p:cxnSp>
          <p:nvCxnSpPr>
            <p:cNvPr id="201" name="직선 화살표 연결선 200"/>
            <p:cNvCxnSpPr>
              <a:stCxn id="186" idx="3"/>
              <a:endCxn id="238" idx="1"/>
            </p:cNvCxnSpPr>
            <p:nvPr/>
          </p:nvCxnSpPr>
          <p:spPr>
            <a:xfrm>
              <a:off x="4191000" y="5295328"/>
              <a:ext cx="564968" cy="401258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stealth" w="med" len="med"/>
            </a:ln>
            <a:effectLst/>
          </p:spPr>
        </p:cxnSp>
        <p:cxnSp>
          <p:nvCxnSpPr>
            <p:cNvPr id="202" name="직선 화살표 연결선 201"/>
            <p:cNvCxnSpPr>
              <a:stCxn id="183" idx="3"/>
              <a:endCxn id="184" idx="1"/>
            </p:cNvCxnSpPr>
            <p:nvPr/>
          </p:nvCxnSpPr>
          <p:spPr>
            <a:xfrm flipV="1">
              <a:off x="1809750" y="1283978"/>
              <a:ext cx="873578" cy="1804316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stealth" w="med" len="med"/>
            </a:ln>
            <a:effectLst/>
          </p:spPr>
        </p:cxnSp>
        <p:cxnSp>
          <p:nvCxnSpPr>
            <p:cNvPr id="203" name="직선 화살표 연결선 202"/>
            <p:cNvCxnSpPr>
              <a:stCxn id="239" idx="3"/>
              <a:endCxn id="191" idx="1"/>
            </p:cNvCxnSpPr>
            <p:nvPr/>
          </p:nvCxnSpPr>
          <p:spPr>
            <a:xfrm>
              <a:off x="6385560" y="881375"/>
              <a:ext cx="564968" cy="0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204" name="직선 화살표 연결선 203"/>
            <p:cNvCxnSpPr>
              <a:stCxn id="240" idx="3"/>
              <a:endCxn id="192" idx="1"/>
            </p:cNvCxnSpPr>
            <p:nvPr/>
          </p:nvCxnSpPr>
          <p:spPr>
            <a:xfrm>
              <a:off x="6385560" y="1683891"/>
              <a:ext cx="564968" cy="19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205" name="직선 화살표 연결선 204"/>
            <p:cNvCxnSpPr>
              <a:stCxn id="235" idx="3"/>
              <a:endCxn id="193" idx="1"/>
            </p:cNvCxnSpPr>
            <p:nvPr/>
          </p:nvCxnSpPr>
          <p:spPr>
            <a:xfrm>
              <a:off x="6385560" y="2486407"/>
              <a:ext cx="564968" cy="38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206" name="직선 화살표 연결선 205"/>
            <p:cNvCxnSpPr>
              <a:stCxn id="237" idx="3"/>
              <a:endCxn id="194" idx="1"/>
            </p:cNvCxnSpPr>
            <p:nvPr/>
          </p:nvCxnSpPr>
          <p:spPr>
            <a:xfrm flipV="1">
              <a:off x="6385560" y="4894050"/>
              <a:ext cx="564968" cy="20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207" name="직선 화살표 연결선 206"/>
            <p:cNvCxnSpPr>
              <a:stCxn id="238" idx="3"/>
              <a:endCxn id="195" idx="1"/>
            </p:cNvCxnSpPr>
            <p:nvPr/>
          </p:nvCxnSpPr>
          <p:spPr>
            <a:xfrm>
              <a:off x="6385560" y="5696586"/>
              <a:ext cx="564968" cy="0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208" name="직선 화살표 연결선 207"/>
            <p:cNvCxnSpPr>
              <a:stCxn id="190" idx="3"/>
              <a:endCxn id="196" idx="1"/>
            </p:cNvCxnSpPr>
            <p:nvPr/>
          </p:nvCxnSpPr>
          <p:spPr>
            <a:xfrm flipV="1">
              <a:off x="6385560" y="4091515"/>
              <a:ext cx="564968" cy="41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209" name="직선 화살표 연결선 208"/>
            <p:cNvCxnSpPr>
              <a:stCxn id="187" idx="3"/>
              <a:endCxn id="190" idx="1"/>
            </p:cNvCxnSpPr>
            <p:nvPr/>
          </p:nvCxnSpPr>
          <p:spPr>
            <a:xfrm>
              <a:off x="4191000" y="4091556"/>
              <a:ext cx="564968" cy="0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stealth" w="med" len="med"/>
            </a:ln>
            <a:effectLst/>
          </p:spPr>
        </p:cxnSp>
        <p:cxnSp>
          <p:nvCxnSpPr>
            <p:cNvPr id="210" name="직선 화살표 연결선 209"/>
            <p:cNvCxnSpPr>
              <a:stCxn id="183" idx="3"/>
              <a:endCxn id="185" idx="1"/>
            </p:cNvCxnSpPr>
            <p:nvPr/>
          </p:nvCxnSpPr>
          <p:spPr>
            <a:xfrm flipV="1">
              <a:off x="1809750" y="2905507"/>
              <a:ext cx="873578" cy="182787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stealth" w="med" len="med"/>
            </a:ln>
            <a:effectLst/>
          </p:spPr>
        </p:cxnSp>
        <p:cxnSp>
          <p:nvCxnSpPr>
            <p:cNvPr id="211" name="직선 화살표 연결선 210"/>
            <p:cNvCxnSpPr>
              <a:stCxn id="183" idx="3"/>
              <a:endCxn id="186" idx="1"/>
            </p:cNvCxnSpPr>
            <p:nvPr/>
          </p:nvCxnSpPr>
          <p:spPr>
            <a:xfrm>
              <a:off x="1809750" y="3088294"/>
              <a:ext cx="873578" cy="2207034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stealth" w="med" len="med"/>
            </a:ln>
            <a:effectLst/>
          </p:spPr>
        </p:cxnSp>
        <p:cxnSp>
          <p:nvCxnSpPr>
            <p:cNvPr id="212" name="직선 화살표 연결선 211"/>
            <p:cNvCxnSpPr>
              <a:stCxn id="183" idx="3"/>
              <a:endCxn id="187" idx="1"/>
            </p:cNvCxnSpPr>
            <p:nvPr/>
          </p:nvCxnSpPr>
          <p:spPr>
            <a:xfrm>
              <a:off x="1809750" y="3088294"/>
              <a:ext cx="873578" cy="1003262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stealth" w="med" len="med"/>
            </a:ln>
            <a:effectLst/>
          </p:spPr>
        </p:cxnSp>
        <p:grpSp>
          <p:nvGrpSpPr>
            <p:cNvPr id="213" name="그룹 212"/>
            <p:cNvGrpSpPr/>
            <p:nvPr/>
          </p:nvGrpSpPr>
          <p:grpSpPr>
            <a:xfrm>
              <a:off x="4755968" y="2276857"/>
              <a:ext cx="1629592" cy="1221614"/>
              <a:chOff x="4755968" y="1852060"/>
              <a:chExt cx="1629592" cy="1221614"/>
            </a:xfrm>
          </p:grpSpPr>
          <p:sp>
            <p:nvSpPr>
              <p:cNvPr id="235" name="직사각형 234">
                <a:extLst>
                  <a:ext uri="{FF2B5EF4-FFF2-40B4-BE49-F238E27FC236}">
                    <a16:creationId xmlns:a16="http://schemas.microsoft.com/office/drawing/2014/main" id="{69494F0D-3897-5D97-3F60-8C229CD90D11}"/>
                  </a:ext>
                </a:extLst>
              </p:cNvPr>
              <p:cNvSpPr/>
              <p:nvPr/>
            </p:nvSpPr>
            <p:spPr>
              <a:xfrm>
                <a:off x="4755968" y="1852060"/>
                <a:ext cx="1629592" cy="419100"/>
              </a:xfrm>
              <a:prstGeom prst="rect">
                <a:avLst/>
              </a:prstGeom>
              <a:noFill/>
              <a:ln w="6350" cap="flat" cmpd="sng" algn="ctr">
                <a:solidFill>
                  <a:srgbClr val="00B05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REQ-QA-UCM-03</a:t>
                </a:r>
                <a:endPara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SW </a:t>
                </a:r>
                <a:r>
                  <a:rPr kumimoji="0" lang="ko-KR" alt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업데이트 소요 시간</a:t>
                </a:r>
                <a:endPara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sp>
            <p:nvSpPr>
              <p:cNvPr id="236" name="직사각형 235">
                <a:extLst>
                  <a:ext uri="{FF2B5EF4-FFF2-40B4-BE49-F238E27FC236}">
                    <a16:creationId xmlns:a16="http://schemas.microsoft.com/office/drawing/2014/main" id="{69494F0D-3897-5D97-3F60-8C229CD90D11}"/>
                  </a:ext>
                </a:extLst>
              </p:cNvPr>
              <p:cNvSpPr/>
              <p:nvPr/>
            </p:nvSpPr>
            <p:spPr>
              <a:xfrm>
                <a:off x="4755968" y="2654574"/>
                <a:ext cx="1629592" cy="419100"/>
              </a:xfrm>
              <a:prstGeom prst="rect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REQ-QA-UCM-04</a:t>
                </a:r>
                <a:endPara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SW </a:t>
                </a:r>
                <a:r>
                  <a:rPr kumimoji="0" lang="ko-KR" alt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업데이트 리소스 관리</a:t>
                </a:r>
                <a:endPara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</p:grpSp>
        <p:sp>
          <p:nvSpPr>
            <p:cNvPr id="214" name="직사각형 213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6950528" y="3079430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Business : M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Technical Impact : L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cxnSp>
          <p:nvCxnSpPr>
            <p:cNvPr id="215" name="직선 화살표 연결선 214"/>
            <p:cNvCxnSpPr>
              <a:stCxn id="236" idx="3"/>
              <a:endCxn id="214" idx="1"/>
            </p:cNvCxnSpPr>
            <p:nvPr/>
          </p:nvCxnSpPr>
          <p:spPr>
            <a:xfrm>
              <a:off x="6385560" y="3288921"/>
              <a:ext cx="564968" cy="59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216" name="직선 화살표 연결선 215"/>
            <p:cNvCxnSpPr>
              <a:stCxn id="185" idx="3"/>
              <a:endCxn id="236" idx="1"/>
            </p:cNvCxnSpPr>
            <p:nvPr/>
          </p:nvCxnSpPr>
          <p:spPr>
            <a:xfrm>
              <a:off x="4191000" y="2905507"/>
              <a:ext cx="564968" cy="383414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stealth" w="med" len="med"/>
            </a:ln>
            <a:effectLst/>
          </p:spPr>
        </p:cxnSp>
        <p:grpSp>
          <p:nvGrpSpPr>
            <p:cNvPr id="217" name="그룹 216"/>
            <p:cNvGrpSpPr/>
            <p:nvPr/>
          </p:nvGrpSpPr>
          <p:grpSpPr>
            <a:xfrm>
              <a:off x="7092016" y="6174095"/>
              <a:ext cx="1987890" cy="230832"/>
              <a:chOff x="7015816" y="6174095"/>
              <a:chExt cx="1987890" cy="230832"/>
            </a:xfrm>
          </p:grpSpPr>
          <p:sp>
            <p:nvSpPr>
              <p:cNvPr id="233" name="직사각형 232">
                <a:extLst>
                  <a:ext uri="{FF2B5EF4-FFF2-40B4-BE49-F238E27FC236}">
                    <a16:creationId xmlns:a16="http://schemas.microsoft.com/office/drawing/2014/main" id="{69494F0D-3897-5D97-3F60-8C229CD90D11}"/>
                  </a:ext>
                </a:extLst>
              </p:cNvPr>
              <p:cNvSpPr/>
              <p:nvPr/>
            </p:nvSpPr>
            <p:spPr>
              <a:xfrm>
                <a:off x="7015816" y="6188332"/>
                <a:ext cx="577850" cy="202358"/>
              </a:xfrm>
              <a:prstGeom prst="rect">
                <a:avLst/>
              </a:prstGeom>
              <a:noFill/>
              <a:ln w="6350" cap="flat" cmpd="sng" algn="ctr">
                <a:solidFill>
                  <a:srgbClr val="00B05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sp>
            <p:nvSpPr>
              <p:cNvPr id="234" name="직사각형 233"/>
              <p:cNvSpPr/>
              <p:nvPr/>
            </p:nvSpPr>
            <p:spPr>
              <a:xfrm>
                <a:off x="7693732" y="6174095"/>
                <a:ext cx="1309974" cy="2308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</a:rPr>
                  <a:t>Key Quality Attribute</a:t>
                </a:r>
                <a:endParaRPr kumimoji="0" lang="ko-KR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endParaRPr>
              </a:p>
            </p:txBody>
          </p:sp>
        </p:grpSp>
        <p:sp>
          <p:nvSpPr>
            <p:cNvPr id="219" name="직사각형 218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2683328" y="57171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Quality Attribute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220" name="직사각형 219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4755968" y="57171"/>
              <a:ext cx="1629592" cy="419100"/>
            </a:xfrm>
            <a:prstGeom prst="rect">
              <a:avLst/>
            </a:prstGeom>
            <a:noFill/>
            <a:ln w="63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QA ID &amp; Description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221" name="직사각형 220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6950528" y="57171"/>
              <a:ext cx="2024150" cy="419100"/>
            </a:xfrm>
            <a:prstGeom prst="rect">
              <a:avLst/>
            </a:prstGeom>
            <a:noFill/>
            <a:ln w="63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Priority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cxnSp>
          <p:nvCxnSpPr>
            <p:cNvPr id="223" name="직선 연결선 222"/>
            <p:cNvCxnSpPr/>
            <p:nvPr/>
          </p:nvCxnSpPr>
          <p:spPr>
            <a:xfrm>
              <a:off x="2683328" y="483899"/>
              <a:ext cx="1508400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24" name="직선 연결선 223"/>
            <p:cNvCxnSpPr/>
            <p:nvPr/>
          </p:nvCxnSpPr>
          <p:spPr>
            <a:xfrm>
              <a:off x="6950528" y="483899"/>
              <a:ext cx="2025127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sp>
          <p:nvSpPr>
            <p:cNvPr id="225" name="직사각형 224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8557078" y="671825"/>
              <a:ext cx="417600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3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226" name="직사각형 225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8557078" y="2276857"/>
              <a:ext cx="417600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2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227" name="직사각형 226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8557078" y="4684500"/>
              <a:ext cx="417600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1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228" name="직사각형 227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8557078" y="5487036"/>
              <a:ext cx="417600" cy="419100"/>
            </a:xfrm>
            <a:prstGeom prst="rect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5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229" name="직사각형 228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8557828" y="3881965"/>
              <a:ext cx="417600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4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230" name="직사각형 229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8557078" y="3079371"/>
              <a:ext cx="417600" cy="419100"/>
            </a:xfrm>
            <a:prstGeom prst="rect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6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231" name="직사각형 230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8557078" y="1474242"/>
              <a:ext cx="417600" cy="419100"/>
            </a:xfrm>
            <a:prstGeom prst="rect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7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cxnSp>
          <p:nvCxnSpPr>
            <p:cNvPr id="232" name="직선 연결선 231"/>
            <p:cNvCxnSpPr/>
            <p:nvPr/>
          </p:nvCxnSpPr>
          <p:spPr>
            <a:xfrm>
              <a:off x="4755968" y="483899"/>
              <a:ext cx="1630800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  <p:sp>
        <p:nvSpPr>
          <p:cNvPr id="241" name="직사각형 240"/>
          <p:cNvSpPr/>
          <p:nvPr/>
        </p:nvSpPr>
        <p:spPr>
          <a:xfrm>
            <a:off x="3683732" y="6574924"/>
            <a:ext cx="366638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9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* Priority Number : 1 </a:t>
            </a:r>
            <a:r>
              <a:rPr lang="ko-KR" altLang="en-US" sz="9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이 가장 높은 </a:t>
            </a:r>
            <a:r>
              <a:rPr lang="en-US" altLang="ko-KR" sz="9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Priority, 7 </a:t>
            </a:r>
            <a:r>
              <a:rPr lang="ko-KR" altLang="en-US" sz="9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이 가장 낮은 </a:t>
            </a:r>
            <a:r>
              <a:rPr lang="en-US" altLang="ko-KR" sz="9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Priority </a:t>
            </a:r>
            <a:r>
              <a:rPr lang="ko-KR" altLang="en-US" sz="9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를 의미</a:t>
            </a:r>
            <a:endParaRPr lang="ko-KR" altLang="en-US" dirty="0"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  <p:sp>
        <p:nvSpPr>
          <p:cNvPr id="62" name="오른쪽 화살표 61">
            <a:hlinkClick r:id="rId2" action="ppaction://hlinksldjump"/>
          </p:cNvPr>
          <p:cNvSpPr/>
          <p:nvPr/>
        </p:nvSpPr>
        <p:spPr>
          <a:xfrm rot="10800000">
            <a:off x="11622614" y="6412474"/>
            <a:ext cx="468052" cy="387443"/>
          </a:xfrm>
          <a:prstGeom prst="rightArrow">
            <a:avLst/>
          </a:prstGeom>
          <a:solidFill>
            <a:srgbClr val="B2B2B2"/>
          </a:solidFill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0524473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TextBox 117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Appendix 5. Quality Attribute Scenario (1/2)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sp>
        <p:nvSpPr>
          <p:cNvPr id="119" name="텍스트 개체 틀 3"/>
          <p:cNvSpPr txBox="1">
            <a:spLocks/>
          </p:cNvSpPr>
          <p:nvPr/>
        </p:nvSpPr>
        <p:spPr>
          <a:xfrm>
            <a:off x="438485" y="672117"/>
            <a:ext cx="11418155" cy="5170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Quality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ttribute Scenario (REQ-QA-UCM-01 ~ REQ-QA-UCM-03)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123" name="표 1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9250757"/>
              </p:ext>
            </p:extLst>
          </p:nvPr>
        </p:nvGraphicFramePr>
        <p:xfrm>
          <a:off x="665729" y="3517988"/>
          <a:ext cx="5490845" cy="2438400"/>
        </p:xfrm>
        <a:graphic>
          <a:graphicData uri="http://schemas.openxmlformats.org/drawingml/2006/table">
            <a:tbl>
              <a:tblPr firstRow="1" firstCol="1" bandRow="1"/>
              <a:tblGrid>
                <a:gridCol w="1214120">
                  <a:extLst>
                    <a:ext uri="{9D8B030D-6E8A-4147-A177-3AD203B41FA5}">
                      <a16:colId xmlns:a16="http://schemas.microsoft.com/office/drawing/2014/main" val="1742465990"/>
                    </a:ext>
                  </a:extLst>
                </a:gridCol>
                <a:gridCol w="4276725">
                  <a:extLst>
                    <a:ext uri="{9D8B030D-6E8A-4147-A177-3AD203B41FA5}">
                      <a16:colId xmlns:a16="http://schemas.microsoft.com/office/drawing/2014/main" val="259175006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ID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Q-QA-UCM-02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48218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yp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ecurity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92885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ourc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악의적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) Attack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9680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timulus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Vehicle Driver, Vehicle Identity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정보 유출 시도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40364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rtifac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UCM Mast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5314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nvironmen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arget System(</a:t>
                      </a:r>
                      <a:r>
                        <a:rPr lang="en-US" sz="1000" kern="1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.g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ECU) Power on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상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UTOSAR Adaptive platform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모듈들이 정상적으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Running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된 상태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02331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ko-KR" sz="1000" dirty="0" err="1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통신상</a:t>
                      </a:r>
                      <a:r>
                        <a:rPr lang="ko-KR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정보가 노출되어도</a:t>
                      </a:r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Vehichle</a:t>
                      </a:r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Drvier</a:t>
                      </a:r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와</a:t>
                      </a:r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Identity </a:t>
                      </a:r>
                      <a:r>
                        <a:rPr lang="ko-KR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에 대한 정보가 노출되지 않아야 한다</a:t>
                      </a:r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sz="9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83308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 Measure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Packet Capture </a:t>
                      </a:r>
                      <a:r>
                        <a:rPr lang="ko-KR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시 </a:t>
                      </a:r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Vehicle Driver </a:t>
                      </a:r>
                      <a:r>
                        <a:rPr lang="ko-KR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와 </a:t>
                      </a:r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Vehicle Identity </a:t>
                      </a:r>
                      <a:r>
                        <a:rPr lang="ko-KR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에 대한 정보가 노출되지 않아야 한다</a:t>
                      </a:r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.</a:t>
                      </a:r>
                      <a:endParaRPr lang="en-US" sz="9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3287061"/>
                  </a:ext>
                </a:extLst>
              </a:tr>
            </a:tbl>
          </a:graphicData>
        </a:graphic>
      </p:graphicFrame>
      <p:graphicFrame>
        <p:nvGraphicFramePr>
          <p:cNvPr id="126" name="표 1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7197670"/>
              </p:ext>
            </p:extLst>
          </p:nvPr>
        </p:nvGraphicFramePr>
        <p:xfrm>
          <a:off x="665729" y="1088740"/>
          <a:ext cx="5490845" cy="2286000"/>
        </p:xfrm>
        <a:graphic>
          <a:graphicData uri="http://schemas.openxmlformats.org/drawingml/2006/table">
            <a:tbl>
              <a:tblPr firstRow="1" firstCol="1" bandRow="1"/>
              <a:tblGrid>
                <a:gridCol w="1214120">
                  <a:extLst>
                    <a:ext uri="{9D8B030D-6E8A-4147-A177-3AD203B41FA5}">
                      <a16:colId xmlns:a16="http://schemas.microsoft.com/office/drawing/2014/main" val="3713388902"/>
                    </a:ext>
                  </a:extLst>
                </a:gridCol>
                <a:gridCol w="4276725">
                  <a:extLst>
                    <a:ext uri="{9D8B030D-6E8A-4147-A177-3AD203B41FA5}">
                      <a16:colId xmlns:a16="http://schemas.microsoft.com/office/drawing/2014/main" val="244577044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ID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Q-QA-UCM-01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8188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yp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ecurity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48282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ourc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악의적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) Attack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640576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timulus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ttacker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가 임의로 생성한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Vehicle Software packag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로 업데이트 시도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47486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rtifac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UCM Mast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8745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nvironmen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arget System(</a:t>
                      </a:r>
                      <a:r>
                        <a:rPr lang="en-US" sz="1000" kern="1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.g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ECU) Power on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상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UTOSAR Adaptive platform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모듈들이 정상적으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Running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된 상태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55254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Vehicle Software Update 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중단 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(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중단 원인 기록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(Logging))</a:t>
                      </a:r>
                      <a:endParaRPr lang="en-US" sz="9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35675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 Measur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Vehicle Software Update 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중단되는지 확인한다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.</a:t>
                      </a:r>
                      <a:b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</a:b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(Update 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중단에 대한 원인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/Description 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기록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(Log) 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확인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)</a:t>
                      </a:r>
                      <a:endParaRPr lang="en-US" sz="9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573300"/>
                  </a:ext>
                </a:extLst>
              </a:tr>
            </a:tbl>
          </a:graphicData>
        </a:graphic>
      </p:graphicFrame>
      <p:graphicFrame>
        <p:nvGraphicFramePr>
          <p:cNvPr id="128" name="표 1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7457138"/>
              </p:ext>
            </p:extLst>
          </p:nvPr>
        </p:nvGraphicFramePr>
        <p:xfrm>
          <a:off x="6348028" y="1088740"/>
          <a:ext cx="5490845" cy="3810000"/>
        </p:xfrm>
        <a:graphic>
          <a:graphicData uri="http://schemas.openxmlformats.org/drawingml/2006/table">
            <a:tbl>
              <a:tblPr firstRow="1" firstCol="1" bandRow="1"/>
              <a:tblGrid>
                <a:gridCol w="1214120">
                  <a:extLst>
                    <a:ext uri="{9D8B030D-6E8A-4147-A177-3AD203B41FA5}">
                      <a16:colId xmlns:a16="http://schemas.microsoft.com/office/drawing/2014/main" val="667199034"/>
                    </a:ext>
                  </a:extLst>
                </a:gridCol>
                <a:gridCol w="4276725">
                  <a:extLst>
                    <a:ext uri="{9D8B030D-6E8A-4147-A177-3AD203B41FA5}">
                      <a16:colId xmlns:a16="http://schemas.microsoft.com/office/drawing/2014/main" val="288152560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ID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Q-QA-UCM-03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0828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yp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Performanc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23590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ourc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Human Vehicle Driver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또는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Test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99787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timulus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Backend Server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또는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Diagnostic Tool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Vehicle Softwar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업데이트 시도</a:t>
                      </a:r>
                      <a:br>
                        <a:rPr lang="en-US" alt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(60MB Vehicle Software Packag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로 테스트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78643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rtifac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UCM Mast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74374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nvironmen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arget System(</a:t>
                      </a:r>
                      <a:r>
                        <a:rPr lang="en-US" sz="1000" kern="1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.g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ECU) Power on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상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UTOSAR Adaptive platform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모듈들이 정상적으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Running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된 상태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02451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Vehicle Software Updat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총 소요시간을 측정한다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57901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 Measure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oftware Package size 60MB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로 업데이트 시도 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업데이트가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5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분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(300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초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이내에 완료되는지 확인한다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* Vehicle Software Package siz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에 따라 달라질 수 있으므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 1MB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당 처리 시간을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Response Measur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단위로 하고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 1MB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처리 시간은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5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초를 넘지 않아야 한다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*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소요 시간 측정</a:t>
                      </a:r>
                      <a:b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- Backend server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사용 </a:t>
                      </a:r>
                      <a:b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Wi-Fi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연결된 상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 Backend server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가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Software Package(s)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를 전송한 시점부터 업데이트 완료 시점까지 소요된 시간 측정</a:t>
                      </a:r>
                      <a:b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- Diagnostic Tool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사용</a:t>
                      </a:r>
                      <a:b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Diagnostic Tool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이 자동차와 연결된 상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 Diagnostic Tool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을 이용하여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oftware Package(s)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를 전송한 시점부터 업데이트 완료 시점까지 소요된 시간 측정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49309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52575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꺾인 연결선 12"/>
          <p:cNvCxnSpPr>
            <a:stCxn id="22" idx="2"/>
            <a:endCxn id="32" idx="0"/>
          </p:cNvCxnSpPr>
          <p:nvPr/>
        </p:nvCxnSpPr>
        <p:spPr>
          <a:xfrm rot="5400000">
            <a:off x="5717837" y="-863882"/>
            <a:ext cx="581481" cy="771002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sys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직선 연결선 15"/>
          <p:cNvCxnSpPr>
            <a:stCxn id="22" idx="2"/>
            <a:endCxn id="38" idx="0"/>
          </p:cNvCxnSpPr>
          <p:nvPr/>
        </p:nvCxnSpPr>
        <p:spPr>
          <a:xfrm>
            <a:off x="9863591" y="2700392"/>
            <a:ext cx="2" cy="581481"/>
          </a:xfrm>
          <a:prstGeom prst="line">
            <a:avLst/>
          </a:prstGeom>
          <a:ln>
            <a:solidFill>
              <a:schemeClr val="tx1"/>
            </a:solidFill>
            <a:prstDash val="sys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꺾인 연결선 17"/>
          <p:cNvCxnSpPr>
            <a:stCxn id="22" idx="2"/>
            <a:endCxn id="35" idx="0"/>
          </p:cNvCxnSpPr>
          <p:nvPr/>
        </p:nvCxnSpPr>
        <p:spPr>
          <a:xfrm rot="5400000">
            <a:off x="7667056" y="1085337"/>
            <a:ext cx="581481" cy="3811591"/>
          </a:xfrm>
          <a:prstGeom prst="bentConnector3">
            <a:avLst/>
          </a:prstGeom>
          <a:ln>
            <a:solidFill>
              <a:schemeClr val="tx1"/>
            </a:solidFill>
            <a:prstDash val="sys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1. Project Overview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Ideation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pSp>
        <p:nvGrpSpPr>
          <p:cNvPr id="31" name="그룹 30"/>
          <p:cNvGrpSpPr/>
          <p:nvPr/>
        </p:nvGrpSpPr>
        <p:grpSpPr>
          <a:xfrm>
            <a:off x="587387" y="3281873"/>
            <a:ext cx="3132349" cy="3360729"/>
            <a:chOff x="587387" y="3317157"/>
            <a:chExt cx="3132349" cy="3360729"/>
          </a:xfrm>
        </p:grpSpPr>
        <p:pic>
          <p:nvPicPr>
            <p:cNvPr id="32" name="Picture 12" descr="Isometric computer lab. Computer education in classroom. Computer classroom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175" r="12246"/>
            <a:stretch/>
          </p:blipFill>
          <p:spPr bwMode="auto">
            <a:xfrm>
              <a:off x="587387" y="3317157"/>
              <a:ext cx="3132349" cy="2657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모서리가 둥근 직사각형 32"/>
            <p:cNvSpPr/>
            <p:nvPr/>
          </p:nvSpPr>
          <p:spPr>
            <a:xfrm>
              <a:off x="709800" y="6237312"/>
              <a:ext cx="3009936" cy="440574"/>
            </a:xfrm>
            <a:prstGeom prst="roundRect">
              <a:avLst>
                <a:gd name="adj" fmla="val 6007"/>
              </a:avLst>
            </a:prstGeom>
            <a:noFill/>
            <a:ln w="9525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Classroom A : Requirement Engineering</a:t>
              </a:r>
            </a:p>
          </p:txBody>
        </p:sp>
      </p:grpSp>
      <p:grpSp>
        <p:nvGrpSpPr>
          <p:cNvPr id="34" name="그룹 33"/>
          <p:cNvGrpSpPr/>
          <p:nvPr/>
        </p:nvGrpSpPr>
        <p:grpSpPr>
          <a:xfrm>
            <a:off x="4152957" y="3281873"/>
            <a:ext cx="3798086" cy="3360729"/>
            <a:chOff x="4313949" y="3317157"/>
            <a:chExt cx="3798086" cy="3360729"/>
          </a:xfrm>
        </p:grpSpPr>
        <p:pic>
          <p:nvPicPr>
            <p:cNvPr id="35" name="Picture 10" descr="Vector isometric computer lab classroom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2385" y="3317157"/>
              <a:ext cx="3381214" cy="27322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모서리가 둥근 직사각형 35"/>
            <p:cNvSpPr/>
            <p:nvPr/>
          </p:nvSpPr>
          <p:spPr>
            <a:xfrm>
              <a:off x="4313949" y="6237312"/>
              <a:ext cx="3798086" cy="440574"/>
            </a:xfrm>
            <a:prstGeom prst="roundRect">
              <a:avLst>
                <a:gd name="adj" fmla="val 6007"/>
              </a:avLst>
            </a:prstGeom>
            <a:noFill/>
            <a:ln w="9525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Classroom B : Object-Oriented Analysis and Design</a:t>
              </a:r>
            </a:p>
          </p:txBody>
        </p:sp>
      </p:grpSp>
      <p:grpSp>
        <p:nvGrpSpPr>
          <p:cNvPr id="37" name="그룹 36"/>
          <p:cNvGrpSpPr/>
          <p:nvPr/>
        </p:nvGrpSpPr>
        <p:grpSpPr>
          <a:xfrm>
            <a:off x="8384265" y="3281873"/>
            <a:ext cx="2958656" cy="3389705"/>
            <a:chOff x="8578516" y="3288181"/>
            <a:chExt cx="2958656" cy="3389705"/>
          </a:xfrm>
        </p:grpSpPr>
        <p:pic>
          <p:nvPicPr>
            <p:cNvPr id="38" name="Picture 14" descr="Modern technology class room with desks, chairs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78516" y="3288181"/>
              <a:ext cx="2958656" cy="29586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모서리가 둥근 직사각형 38"/>
            <p:cNvSpPr/>
            <p:nvPr/>
          </p:nvSpPr>
          <p:spPr>
            <a:xfrm>
              <a:off x="9267160" y="6237312"/>
              <a:ext cx="1581368" cy="440574"/>
            </a:xfrm>
            <a:prstGeom prst="roundRect">
              <a:avLst>
                <a:gd name="adj" fmla="val 6007"/>
              </a:avLst>
            </a:prstGeom>
            <a:noFill/>
            <a:ln w="9525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Classroom C : C++</a:t>
              </a:r>
            </a:p>
          </p:txBody>
        </p:sp>
      </p:grpSp>
      <p:sp>
        <p:nvSpPr>
          <p:cNvPr id="43" name="텍스트 개체 틀 3"/>
          <p:cNvSpPr txBox="1">
            <a:spLocks/>
          </p:cNvSpPr>
          <p:nvPr/>
        </p:nvSpPr>
        <p:spPr>
          <a:xfrm>
            <a:off x="438485" y="672117"/>
            <a:ext cx="11418155" cy="15511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나의 졸업 이후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…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Backend Serv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구축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Windows OS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내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pdate Agent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의한 자동 업데이트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모든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C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소프트웨어 동시 업데이트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총 예상 소요 시간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Patch 1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건 당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5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분 미만</a:t>
            </a: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grpSp>
        <p:nvGrpSpPr>
          <p:cNvPr id="21" name="그룹 20"/>
          <p:cNvGrpSpPr/>
          <p:nvPr/>
        </p:nvGrpSpPr>
        <p:grpSpPr>
          <a:xfrm>
            <a:off x="9132855" y="964214"/>
            <a:ext cx="1461470" cy="1736178"/>
            <a:chOff x="5662465" y="576698"/>
            <a:chExt cx="1461470" cy="1736178"/>
          </a:xfrm>
        </p:grpSpPr>
        <p:pic>
          <p:nvPicPr>
            <p:cNvPr id="22" name="Picture 2" descr="Flat isometric 3d illustration of database concept with cloud server  16716622 Vector Art at Vecteezy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703" t="9414" r="13699" b="8223"/>
            <a:stretch/>
          </p:blipFill>
          <p:spPr bwMode="auto">
            <a:xfrm>
              <a:off x="5745128" y="1052736"/>
              <a:ext cx="1296145" cy="1260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모서리가 둥근 직사각형 22"/>
            <p:cNvSpPr/>
            <p:nvPr/>
          </p:nvSpPr>
          <p:spPr>
            <a:xfrm>
              <a:off x="5662465" y="576698"/>
              <a:ext cx="1461470" cy="440574"/>
            </a:xfrm>
            <a:prstGeom prst="roundRect">
              <a:avLst>
                <a:gd name="adj" fmla="val 6007"/>
              </a:avLst>
            </a:prstGeom>
            <a:noFill/>
            <a:ln w="9525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Backend Serv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4127523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텍스트 개체 틀 3"/>
          <p:cNvSpPr txBox="1">
            <a:spLocks/>
          </p:cNvSpPr>
          <p:nvPr/>
        </p:nvSpPr>
        <p:spPr>
          <a:xfrm>
            <a:off x="438485" y="672117"/>
            <a:ext cx="11418155" cy="5170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Quality Attribute Scenario (REQ-QA-UCM-04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~ REQ-QA-UCM-07)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3" name="표 2"/>
          <p:cNvGraphicFramePr>
            <a:graphicFrameLocks noGrp="1"/>
          </p:cNvGraphicFramePr>
          <p:nvPr/>
        </p:nvGraphicFramePr>
        <p:xfrm>
          <a:off x="668097" y="1088740"/>
          <a:ext cx="5490845" cy="2133600"/>
        </p:xfrm>
        <a:graphic>
          <a:graphicData uri="http://schemas.openxmlformats.org/drawingml/2006/table">
            <a:tbl>
              <a:tblPr firstRow="1" firstCol="1" bandRow="1"/>
              <a:tblGrid>
                <a:gridCol w="1214120">
                  <a:extLst>
                    <a:ext uri="{9D8B030D-6E8A-4147-A177-3AD203B41FA5}">
                      <a16:colId xmlns:a16="http://schemas.microsoft.com/office/drawing/2014/main" val="1824506547"/>
                    </a:ext>
                  </a:extLst>
                </a:gridCol>
                <a:gridCol w="4276725">
                  <a:extLst>
                    <a:ext uri="{9D8B030D-6E8A-4147-A177-3AD203B41FA5}">
                      <a16:colId xmlns:a16="http://schemas.microsoft.com/office/drawing/2014/main" val="712065337"/>
                    </a:ext>
                  </a:extLst>
                </a:gridCol>
              </a:tblGrid>
              <a:tr h="244836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ID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Q-QA-UCM-04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564526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yp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Performance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9612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ourc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Human Vehicle Driver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또는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Test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86736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timulus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Backend Server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또는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Diagnostic Tool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Vehicle Softwar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업데이트 시도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3298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rtifac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UCM Mast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39695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nvironmen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arget System(</a:t>
                      </a:r>
                      <a:r>
                        <a:rPr lang="en-US" sz="1000" kern="1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.g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ECU) Power on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상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UTOSAR Adaptive platform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모듈들이 정상적으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Running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된 상태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7111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Vehicle Software Updat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시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CPU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점유율을 확인한다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95735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 Measur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oftware Updat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중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CPU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점유율이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30%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를 초과하는지 확인한다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582243"/>
                  </a:ext>
                </a:extLst>
              </a:tr>
            </a:tbl>
          </a:graphicData>
        </a:graphic>
      </p:graphicFrame>
      <p:graphicFrame>
        <p:nvGraphicFramePr>
          <p:cNvPr id="5" name="표 4"/>
          <p:cNvGraphicFramePr>
            <a:graphicFrameLocks noGrp="1"/>
          </p:cNvGraphicFramePr>
          <p:nvPr/>
        </p:nvGraphicFramePr>
        <p:xfrm>
          <a:off x="668097" y="3429000"/>
          <a:ext cx="5490845" cy="2133600"/>
        </p:xfrm>
        <a:graphic>
          <a:graphicData uri="http://schemas.openxmlformats.org/drawingml/2006/table">
            <a:tbl>
              <a:tblPr firstRow="1" firstCol="1" bandRow="1"/>
              <a:tblGrid>
                <a:gridCol w="1214120">
                  <a:extLst>
                    <a:ext uri="{9D8B030D-6E8A-4147-A177-3AD203B41FA5}">
                      <a16:colId xmlns:a16="http://schemas.microsoft.com/office/drawing/2014/main" val="3886288798"/>
                    </a:ext>
                  </a:extLst>
                </a:gridCol>
                <a:gridCol w="4276725">
                  <a:extLst>
                    <a:ext uri="{9D8B030D-6E8A-4147-A177-3AD203B41FA5}">
                      <a16:colId xmlns:a16="http://schemas.microsoft.com/office/drawing/2014/main" val="64000565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ID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Q-QA-UCM-05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9899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yp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vailability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89913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ourc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Human Vehicle Driver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또는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Test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35403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timulus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Backend Server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또는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Diagnostic Tool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Vehicle Softwar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업데이트 시도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23625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rtifac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UCM Mast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98430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nvironmen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arget System (e.g. ECU)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전원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on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상태에서 오류로 인하여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UCM Master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가</a:t>
                      </a:r>
                      <a:br>
                        <a:rPr lang="en-US" alt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unning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되고 있지 않는 상태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5124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Vehicle Software Updat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가 정상적으로 진행되는지 확인한다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42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 Measur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Vehicle Software Update 20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회 시도 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20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회 모두 정상적으로 진행되는지 확인한다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2954644"/>
                  </a:ext>
                </a:extLst>
              </a:tr>
            </a:tbl>
          </a:graphicData>
        </a:graphic>
      </p:graphicFrame>
      <p:graphicFrame>
        <p:nvGraphicFramePr>
          <p:cNvPr id="7" name="표 6"/>
          <p:cNvGraphicFramePr>
            <a:graphicFrameLocks noGrp="1"/>
          </p:cNvGraphicFramePr>
          <p:nvPr/>
        </p:nvGraphicFramePr>
        <p:xfrm>
          <a:off x="6348027" y="1088740"/>
          <a:ext cx="5490845" cy="2133600"/>
        </p:xfrm>
        <a:graphic>
          <a:graphicData uri="http://schemas.openxmlformats.org/drawingml/2006/table">
            <a:tbl>
              <a:tblPr firstRow="1" firstCol="1" bandRow="1"/>
              <a:tblGrid>
                <a:gridCol w="1214120">
                  <a:extLst>
                    <a:ext uri="{9D8B030D-6E8A-4147-A177-3AD203B41FA5}">
                      <a16:colId xmlns:a16="http://schemas.microsoft.com/office/drawing/2014/main" val="3349878174"/>
                    </a:ext>
                  </a:extLst>
                </a:gridCol>
                <a:gridCol w="4276725">
                  <a:extLst>
                    <a:ext uri="{9D8B030D-6E8A-4147-A177-3AD203B41FA5}">
                      <a16:colId xmlns:a16="http://schemas.microsoft.com/office/drawing/2014/main" val="47194005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ID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Q-QA-UCM-06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35217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yp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vailability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08908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ourc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Human Vehicle Driver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또는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Test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56568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timulus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Vehicle Software Updat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중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Reboot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시도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97530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rtifac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UCM Mast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50399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nvironmen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arget System(</a:t>
                      </a:r>
                      <a:r>
                        <a:rPr lang="en-US" sz="1000" kern="1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.g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ECU)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에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Software Updat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가 진행 중인 상태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53229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arget System(</a:t>
                      </a:r>
                      <a:r>
                        <a:rPr lang="en-US" sz="1000" kern="1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.g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ECU) </a:t>
                      </a:r>
                      <a:r>
                        <a:rPr lang="ko-KR" sz="1000" kern="1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재시작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후에도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Vehicle Software Updat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재개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548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 Measur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arget System(</a:t>
                      </a:r>
                      <a:r>
                        <a:rPr lang="en-US" sz="1000" kern="1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.g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ECU) </a:t>
                      </a:r>
                      <a:r>
                        <a:rPr lang="ko-KR" sz="1000" kern="1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재시작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후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Vehicle Software Updat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가정상적으로</a:t>
                      </a:r>
                      <a:br>
                        <a:rPr lang="en-US" alt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sz="1000" kern="1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재시작하고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 Software Update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완료 후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Vehicle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이 정상동작 하는지 확인한다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6403012"/>
                  </a:ext>
                </a:extLst>
              </a:tr>
            </a:tbl>
          </a:graphicData>
        </a:graphic>
      </p:graphicFrame>
      <p:graphicFrame>
        <p:nvGraphicFramePr>
          <p:cNvPr id="9" name="표 8"/>
          <p:cNvGraphicFramePr>
            <a:graphicFrameLocks noGrp="1"/>
          </p:cNvGraphicFramePr>
          <p:nvPr/>
        </p:nvGraphicFramePr>
        <p:xfrm>
          <a:off x="6348026" y="3429000"/>
          <a:ext cx="5490845" cy="2286000"/>
        </p:xfrm>
        <a:graphic>
          <a:graphicData uri="http://schemas.openxmlformats.org/drawingml/2006/table">
            <a:tbl>
              <a:tblPr firstRow="1" firstCol="1" bandRow="1"/>
              <a:tblGrid>
                <a:gridCol w="1214120">
                  <a:extLst>
                    <a:ext uri="{9D8B030D-6E8A-4147-A177-3AD203B41FA5}">
                      <a16:colId xmlns:a16="http://schemas.microsoft.com/office/drawing/2014/main" val="3883666747"/>
                    </a:ext>
                  </a:extLst>
                </a:gridCol>
                <a:gridCol w="4276725">
                  <a:extLst>
                    <a:ext uri="{9D8B030D-6E8A-4147-A177-3AD203B41FA5}">
                      <a16:colId xmlns:a16="http://schemas.microsoft.com/office/drawing/2014/main" val="64748161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ID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Q-QA-UCM-07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73733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yp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xtensibility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22693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ourc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ester (Diagnostic Tool)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45472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timulus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신규로 설치된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UCM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업데이트 시도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76519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rtifac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UCM Mast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34018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nvironmen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arget System(</a:t>
                      </a:r>
                      <a:r>
                        <a:rPr lang="en-US" sz="1000" kern="1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.g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ECU) Power on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상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UCM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이 신규로 설치된 상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새로 설치된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UCM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의 업데이트가 준비된 상태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2046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신규로 설치된 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UCM 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에 대한 업데이트 </a:t>
                      </a:r>
                      <a:r>
                        <a:rPr lang="ko-KR" sz="10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업데이트</a:t>
                      </a:r>
                      <a:endParaRPr lang="en-US" sz="9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85972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 Measur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UCM Master 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의 변경사항 없이 새로운 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UCM 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의 업데이트가 정상적으로 이루어지는지 확인한다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.</a:t>
                      </a:r>
                      <a:endParaRPr lang="en-US" sz="9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3487380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Appendix 6. Quality Attribute Scenario (2/2)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sp>
        <p:nvSpPr>
          <p:cNvPr id="10" name="오른쪽 화살표 9">
            <a:hlinkClick r:id="rId2" action="ppaction://hlinksldjump"/>
          </p:cNvPr>
          <p:cNvSpPr/>
          <p:nvPr/>
        </p:nvSpPr>
        <p:spPr>
          <a:xfrm rot="10800000">
            <a:off x="11622614" y="6412474"/>
            <a:ext cx="468052" cy="387443"/>
          </a:xfrm>
          <a:prstGeom prst="rightArrow">
            <a:avLst/>
          </a:prstGeom>
          <a:solidFill>
            <a:srgbClr val="B2B2B2"/>
          </a:solidFill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230321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텍스트 개체 틀 3"/>
          <p:cNvSpPr txBox="1">
            <a:spLocks/>
          </p:cNvSpPr>
          <p:nvPr/>
        </p:nvSpPr>
        <p:spPr>
          <a:xfrm>
            <a:off x="438485" y="672117"/>
            <a:ext cx="11418155" cy="57713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source Monitor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추가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 Block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RC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추가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65K Block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위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RC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추가하여 수신 측에서 위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/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변조 또는 손상 여부 확인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Appendix 7. 2</a:t>
            </a:r>
            <a:r>
              <a:rPr lang="en-US" altLang="ko-KR" sz="1800" baseline="300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nd</a:t>
            </a:r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Iteration </a:t>
            </a:r>
            <a:r>
              <a:rPr lang="ko-KR" altLang="en-US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검토 항목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1052736"/>
            <a:ext cx="8858256" cy="3633531"/>
          </a:xfrm>
          <a:prstGeom prst="rect">
            <a:avLst/>
          </a:prstGeom>
        </p:spPr>
      </p:pic>
      <p:sp>
        <p:nvSpPr>
          <p:cNvPr id="5" name="오른쪽 화살표 4">
            <a:hlinkClick r:id="rId3" action="ppaction://hlinksldjump"/>
          </p:cNvPr>
          <p:cNvSpPr/>
          <p:nvPr/>
        </p:nvSpPr>
        <p:spPr>
          <a:xfrm rot="10800000">
            <a:off x="11622614" y="6412474"/>
            <a:ext cx="468052" cy="387443"/>
          </a:xfrm>
          <a:prstGeom prst="rightArrow">
            <a:avLst/>
          </a:prstGeom>
          <a:solidFill>
            <a:srgbClr val="B2B2B2"/>
          </a:solidFill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8437676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텍스트 개체 틀 3"/>
          <p:cNvSpPr txBox="1">
            <a:spLocks/>
          </p:cNvSpPr>
          <p:nvPr/>
        </p:nvSpPr>
        <p:spPr>
          <a:xfrm>
            <a:off x="438485" y="672117"/>
            <a:ext cx="11418155" cy="60108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LS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적용 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간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PU Load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및 전송 시간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* 1 Block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시 약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86.2ms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시간 증가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/ 300MB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크기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시 약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5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분 정도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Upd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소요 시간 증가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ignature Verificat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수행 시간 측정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300MB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기준 평균 약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50ms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소요 확인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hread Work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사용 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Work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수에 따른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PU Load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측정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* LARA Platform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체가 로드 된 상태에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의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cess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간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est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및 측정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HM Heartbeat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오버헤드 측정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1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회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Heartbeat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통신 시 사용되는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acket size : 8Byte(s)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공인연비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0Km/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리터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최대 수용 연료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80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리터 자동차 시속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00Km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운행 기준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연속 주행 가능 시간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8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시간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28,800 sec)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주행 중 약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PU 0.1%, Memory 112.5KB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사용 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Appendix 8. </a:t>
            </a:r>
            <a:r>
              <a:rPr lang="ko-KR" altLang="en-US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실험결과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2234355"/>
              </p:ext>
            </p:extLst>
          </p:nvPr>
        </p:nvGraphicFramePr>
        <p:xfrm>
          <a:off x="721879" y="1010434"/>
          <a:ext cx="11017225" cy="834390"/>
        </p:xfrm>
        <a:graphic>
          <a:graphicData uri="http://schemas.openxmlformats.org/drawingml/2006/table">
            <a:tbl>
              <a:tblPr firstRow="1" firstCol="1" bandRow="1"/>
              <a:tblGrid>
                <a:gridCol w="2277777">
                  <a:extLst>
                    <a:ext uri="{9D8B030D-6E8A-4147-A177-3AD203B41FA5}">
                      <a16:colId xmlns:a16="http://schemas.microsoft.com/office/drawing/2014/main" val="761137373"/>
                    </a:ext>
                  </a:extLst>
                </a:gridCol>
                <a:gridCol w="4369724">
                  <a:extLst>
                    <a:ext uri="{9D8B030D-6E8A-4147-A177-3AD203B41FA5}">
                      <a16:colId xmlns:a16="http://schemas.microsoft.com/office/drawing/2014/main" val="3610593473"/>
                    </a:ext>
                  </a:extLst>
                </a:gridCol>
                <a:gridCol w="4369724">
                  <a:extLst>
                    <a:ext uri="{9D8B030D-6E8A-4147-A177-3AD203B41FA5}">
                      <a16:colId xmlns:a16="http://schemas.microsoft.com/office/drawing/2014/main" val="30994114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측정 조건</a:t>
                      </a:r>
                      <a:endParaRPr lang="en-US" sz="12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LS </a:t>
                      </a:r>
                      <a:r>
                        <a:rPr lang="ko-KR" altLang="en-US" sz="12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적용 전</a:t>
                      </a:r>
                      <a:endParaRPr lang="en-US" sz="1200" b="1" kern="100" dirty="0">
                        <a:solidFill>
                          <a:srgbClr val="000000"/>
                        </a:solidFill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LS </a:t>
                      </a:r>
                      <a:r>
                        <a:rPr lang="ko-KR" altLang="en-US" sz="12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적용 후</a:t>
                      </a:r>
                      <a:endParaRPr lang="en-US" sz="1200" b="1" kern="100" dirty="0">
                        <a:solidFill>
                          <a:srgbClr val="000000"/>
                        </a:solidFill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3277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CPU Load</a:t>
                      </a: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19~21%</a:t>
                      </a: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25 ~ 27%</a:t>
                      </a: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01241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Software Package </a:t>
                      </a:r>
                      <a:r>
                        <a:rPr lang="ko-KR" altLang="en-US" sz="12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전송 시간</a:t>
                      </a:r>
                      <a:endParaRPr lang="en-US" sz="12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1 Block (65KB) </a:t>
                      </a:r>
                      <a:r>
                        <a:rPr lang="ko-KR" altLang="en-US" sz="12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당 평균 </a:t>
                      </a:r>
                      <a:r>
                        <a:rPr lang="en-US" altLang="ko-KR" sz="12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42.5ms</a:t>
                      </a:r>
                      <a:endParaRPr lang="en-US" sz="12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1 Block</a:t>
                      </a:r>
                      <a:r>
                        <a:rPr lang="en-US" sz="1200" baseline="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(65KB) </a:t>
                      </a:r>
                      <a:r>
                        <a:rPr lang="ko-KR" altLang="en-US" sz="1200" baseline="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당 평균</a:t>
                      </a:r>
                      <a:r>
                        <a:rPr lang="en-US" altLang="ko-KR" sz="1200" baseline="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228.7ms</a:t>
                      </a:r>
                      <a:endParaRPr lang="en-US" sz="12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011882"/>
                  </a:ext>
                </a:extLst>
              </a:tr>
            </a:tbl>
          </a:graphicData>
        </a:graphic>
      </p:graphicFrame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275512"/>
              </p:ext>
            </p:extLst>
          </p:nvPr>
        </p:nvGraphicFramePr>
        <p:xfrm>
          <a:off x="720949" y="4005064"/>
          <a:ext cx="6647501" cy="1112520"/>
        </p:xfrm>
        <a:graphic>
          <a:graphicData uri="http://schemas.openxmlformats.org/drawingml/2006/table">
            <a:tbl>
              <a:tblPr firstRow="1" firstCol="1" bandRow="1"/>
              <a:tblGrid>
                <a:gridCol w="2277777">
                  <a:extLst>
                    <a:ext uri="{9D8B030D-6E8A-4147-A177-3AD203B41FA5}">
                      <a16:colId xmlns:a16="http://schemas.microsoft.com/office/drawing/2014/main" val="2262881813"/>
                    </a:ext>
                  </a:extLst>
                </a:gridCol>
                <a:gridCol w="4369724">
                  <a:extLst>
                    <a:ext uri="{9D8B030D-6E8A-4147-A177-3AD203B41FA5}">
                      <a16:colId xmlns:a16="http://schemas.microsoft.com/office/drawing/2014/main" val="4139739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동시 전송 </a:t>
                      </a:r>
                      <a:r>
                        <a:rPr lang="en-US" altLang="ko-KR" sz="12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oftware Package(s)</a:t>
                      </a:r>
                      <a:endParaRPr lang="en-US" sz="12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CPU Load</a:t>
                      </a: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23934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1</a:t>
                      </a:r>
                      <a:r>
                        <a:rPr lang="ko-KR" altLang="en-US" sz="12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개</a:t>
                      </a:r>
                      <a:endParaRPr lang="en-US" sz="12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22~23%</a:t>
                      </a: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93779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2</a:t>
                      </a:r>
                      <a:r>
                        <a:rPr lang="ko-KR" altLang="en-US" sz="12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개</a:t>
                      </a:r>
                      <a:endParaRPr lang="en-US" sz="12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25~27%</a:t>
                      </a: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68607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3</a:t>
                      </a:r>
                      <a:r>
                        <a:rPr lang="ko-KR" altLang="en-US" sz="12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개</a:t>
                      </a:r>
                      <a:endParaRPr lang="en-US" sz="12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29~33%</a:t>
                      </a: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76238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763713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텍스트 개체 틀 3"/>
          <p:cNvSpPr txBox="1">
            <a:spLocks/>
          </p:cNvSpPr>
          <p:nvPr/>
        </p:nvSpPr>
        <p:spPr>
          <a:xfrm>
            <a:off x="438485" y="672117"/>
            <a:ext cx="11418155" cy="5170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eployment View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Appendix 9. Deployment View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7" name="그림 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767" y="1016731"/>
            <a:ext cx="8732601" cy="56986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949333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 descr="1,506 Parking Isometric View Images, Stock Photos &amp; Vectors | Shutterstock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00" b="8201"/>
          <a:stretch/>
        </p:blipFill>
        <p:spPr bwMode="auto">
          <a:xfrm>
            <a:off x="191344" y="3708506"/>
            <a:ext cx="4104456" cy="2626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그룹 2"/>
          <p:cNvGrpSpPr/>
          <p:nvPr/>
        </p:nvGrpSpPr>
        <p:grpSpPr>
          <a:xfrm>
            <a:off x="4649484" y="3709863"/>
            <a:ext cx="2700300" cy="2700300"/>
            <a:chOff x="5123892" y="1700808"/>
            <a:chExt cx="4784812" cy="4784812"/>
          </a:xfrm>
        </p:grpSpPr>
        <p:pic>
          <p:nvPicPr>
            <p:cNvPr id="5126" name="Picture 6" descr="자동차 쇼룸. 자동 비즈니스 쇼룸 또는 자동차 판매 살롱 3d 평면 아이소 메트릭 그림 | 무료 벡터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23892" y="1700808"/>
              <a:ext cx="4784812" cy="47848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직사각형 1"/>
            <p:cNvSpPr/>
            <p:nvPr/>
          </p:nvSpPr>
          <p:spPr>
            <a:xfrm>
              <a:off x="5123892" y="5121188"/>
              <a:ext cx="1944216" cy="1364432"/>
            </a:xfrm>
            <a:prstGeom prst="rect">
              <a:avLst/>
            </a:prstGeom>
            <a:solidFill>
              <a:schemeClr val="bg1"/>
            </a:solidFill>
          </p:spPr>
          <p:txBody>
            <a:bodyPr rtlCol="0" anchor="ctr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endParaRPr>
            </a:p>
          </p:txBody>
        </p:sp>
        <p:sp>
          <p:nvSpPr>
            <p:cNvPr id="6" name="직사각형 5"/>
            <p:cNvSpPr/>
            <p:nvPr/>
          </p:nvSpPr>
          <p:spPr>
            <a:xfrm>
              <a:off x="5123892" y="5985892"/>
              <a:ext cx="2484276" cy="499728"/>
            </a:xfrm>
            <a:prstGeom prst="rect">
              <a:avLst/>
            </a:prstGeom>
            <a:solidFill>
              <a:schemeClr val="bg1"/>
            </a:solidFill>
          </p:spPr>
          <p:txBody>
            <a:bodyPr rtlCol="0" anchor="ctr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endParaRPr>
            </a:p>
          </p:txBody>
        </p:sp>
      </p:grpSp>
      <p:pic>
        <p:nvPicPr>
          <p:cNvPr id="5128" name="Picture 8" descr="Isometric Car Factory Images – Browse 3,272 Stock Photos, Vectors, and  Video | Adobe Stock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3468" y="3708506"/>
            <a:ext cx="4320245" cy="2566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모서리가 둥근 직사각형 8"/>
          <p:cNvSpPr/>
          <p:nvPr/>
        </p:nvSpPr>
        <p:spPr>
          <a:xfrm>
            <a:off x="889820" y="6228786"/>
            <a:ext cx="2649896" cy="440574"/>
          </a:xfrm>
          <a:prstGeom prst="roundRect">
            <a:avLst>
              <a:gd name="adj" fmla="val 6007"/>
            </a:avLst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Parking Lot</a:t>
            </a:r>
          </a:p>
        </p:txBody>
      </p:sp>
      <p:sp>
        <p:nvSpPr>
          <p:cNvPr id="10" name="모서리가 둥근 직사각형 9"/>
          <p:cNvSpPr/>
          <p:nvPr/>
        </p:nvSpPr>
        <p:spPr>
          <a:xfrm>
            <a:off x="4674686" y="6228786"/>
            <a:ext cx="2649896" cy="440574"/>
          </a:xfrm>
          <a:prstGeom prst="roundRect">
            <a:avLst>
              <a:gd name="adj" fmla="val 6007"/>
            </a:avLst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Showroom</a:t>
            </a:r>
          </a:p>
        </p:txBody>
      </p:sp>
      <p:sp>
        <p:nvSpPr>
          <p:cNvPr id="11" name="모서리가 둥근 직사각형 10"/>
          <p:cNvSpPr/>
          <p:nvPr/>
        </p:nvSpPr>
        <p:spPr>
          <a:xfrm>
            <a:off x="8538642" y="6228786"/>
            <a:ext cx="2649896" cy="440574"/>
          </a:xfrm>
          <a:prstGeom prst="roundRect">
            <a:avLst>
              <a:gd name="adj" fmla="val 6007"/>
            </a:avLst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Vehicle Factory</a:t>
            </a:r>
          </a:p>
        </p:txBody>
      </p:sp>
      <p:cxnSp>
        <p:nvCxnSpPr>
          <p:cNvPr id="15" name="꺾인 연결선 14"/>
          <p:cNvCxnSpPr>
            <a:stCxn id="20" idx="2"/>
            <a:endCxn id="5124" idx="0"/>
          </p:cNvCxnSpPr>
          <p:nvPr/>
        </p:nvCxnSpPr>
        <p:spPr>
          <a:xfrm rot="5400000">
            <a:off x="5549525" y="-605560"/>
            <a:ext cx="1008114" cy="762001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sys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꺾인 연결선 17"/>
          <p:cNvCxnSpPr>
            <a:stCxn id="20" idx="2"/>
            <a:endCxn id="5126" idx="0"/>
          </p:cNvCxnSpPr>
          <p:nvPr/>
        </p:nvCxnSpPr>
        <p:spPr>
          <a:xfrm rot="5400000">
            <a:off x="7426878" y="1273149"/>
            <a:ext cx="1009471" cy="3863957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sys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연결선 20"/>
          <p:cNvCxnSpPr>
            <a:stCxn id="20" idx="2"/>
            <a:endCxn id="5128" idx="0"/>
          </p:cNvCxnSpPr>
          <p:nvPr/>
        </p:nvCxnSpPr>
        <p:spPr>
          <a:xfrm>
            <a:off x="9863591" y="2700392"/>
            <a:ext cx="0" cy="1008114"/>
          </a:xfrm>
          <a:prstGeom prst="line">
            <a:avLst/>
          </a:prstGeom>
          <a:ln>
            <a:solidFill>
              <a:schemeClr val="tx1"/>
            </a:solidFill>
            <a:prstDash val="sys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텍스트 개체 틀 3"/>
          <p:cNvSpPr txBox="1">
            <a:spLocks/>
          </p:cNvSpPr>
          <p:nvPr/>
        </p:nvSpPr>
        <p:spPr>
          <a:xfrm>
            <a:off x="438485" y="672117"/>
            <a:ext cx="11418155" cy="21759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자동차 제조업체의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ain-point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판매 후 운행중인 차량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자동차 판매점 내의 차량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판매 전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3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출하 전 조립 완료된 차량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어떻게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pd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할 것인가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?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Backend Server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및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자동차 내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Update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모듈 필요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&amp; UCM Subordinat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1. Project Overview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Ideation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pSp>
        <p:nvGrpSpPr>
          <p:cNvPr id="19" name="그룹 18"/>
          <p:cNvGrpSpPr/>
          <p:nvPr/>
        </p:nvGrpSpPr>
        <p:grpSpPr>
          <a:xfrm>
            <a:off x="9132855" y="964214"/>
            <a:ext cx="1461470" cy="1736178"/>
            <a:chOff x="5662465" y="576698"/>
            <a:chExt cx="1461470" cy="1736178"/>
          </a:xfrm>
        </p:grpSpPr>
        <p:pic>
          <p:nvPicPr>
            <p:cNvPr id="20" name="Picture 2" descr="Flat isometric 3d illustration of database concept with cloud server  16716622 Vector Art at Vecteezy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703" t="9414" r="13699" b="8223"/>
            <a:stretch/>
          </p:blipFill>
          <p:spPr bwMode="auto">
            <a:xfrm>
              <a:off x="5745128" y="1052736"/>
              <a:ext cx="1296145" cy="1260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모서리가 둥근 직사각형 21"/>
            <p:cNvSpPr/>
            <p:nvPr/>
          </p:nvSpPr>
          <p:spPr>
            <a:xfrm>
              <a:off x="5662465" y="576698"/>
              <a:ext cx="1461470" cy="440574"/>
            </a:xfrm>
            <a:prstGeom prst="roundRect">
              <a:avLst>
                <a:gd name="adj" fmla="val 6007"/>
              </a:avLst>
            </a:prstGeom>
            <a:noFill/>
            <a:ln w="9525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Backend Server</a:t>
              </a:r>
            </a:p>
          </p:txBody>
        </p:sp>
      </p:grpSp>
      <p:sp>
        <p:nvSpPr>
          <p:cNvPr id="27" name="직사각형 26"/>
          <p:cNvSpPr/>
          <p:nvPr/>
        </p:nvSpPr>
        <p:spPr>
          <a:xfrm>
            <a:off x="3755740" y="1696642"/>
            <a:ext cx="3190297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* </a:t>
            </a:r>
            <a:r>
              <a:rPr kumimoji="1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기존 </a:t>
            </a:r>
            <a:r>
              <a: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olkswagen ECU </a:t>
            </a:r>
            <a:r>
              <a:rPr kumimoji="1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경우</a:t>
            </a:r>
            <a:r>
              <a: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 </a:t>
            </a:r>
            <a:r>
              <a:rPr kumimoji="1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출하 전에 한하여 생산 담당자가 </a:t>
            </a:r>
            <a:r>
              <a: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Update </a:t>
            </a:r>
            <a:r>
              <a:rPr kumimoji="1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필요</a:t>
            </a:r>
            <a:r>
              <a: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시</a:t>
            </a:r>
            <a:br>
              <a: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 USB </a:t>
            </a:r>
            <a:r>
              <a:rPr kumimoji="1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로 자동차 </a:t>
            </a:r>
            <a:r>
              <a: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Update </a:t>
            </a:r>
            <a:r>
              <a:rPr kumimoji="1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진행 중</a:t>
            </a:r>
            <a:endParaRPr kumimoji="1" lang="en-US" sz="10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rebuchet MS" pitchFamily="34" charset="0"/>
              <a:ea typeface="돋움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28734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텍스트 개체 틀 3"/>
          <p:cNvSpPr txBox="1">
            <a:spLocks/>
          </p:cNvSpPr>
          <p:nvPr/>
        </p:nvSpPr>
        <p:spPr>
          <a:xfrm>
            <a:off x="438485" y="672117"/>
            <a:ext cx="11418155" cy="60539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자동차 제조업체의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quirement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Built-i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스마트 디바이스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Digital Cockpit, IVI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등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Softwar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결함 수정 또는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ecurity Patch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등의 환경 변화에 따라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최근 자동차 제조업체의 요구 사항에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&amp; UCM Subordin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모듈 포함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LG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자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S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사업본부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022. 10 Toyota telematics ECU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수주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LARA (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L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G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TOSA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aptive) Platform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준비 상황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최근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5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년 수주한 차량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경우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ECU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발 시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UTOSAR Adaptive Standard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준수에 대한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요구사항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증가 추세</a:t>
            </a:r>
            <a:b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Volkswagen(2018~), BMW(2019~2021), Toyota(2022~)</a:t>
            </a:r>
            <a:b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CTO Division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은 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UTOSAR Adaptive Standard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준수하는 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latform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내재화 업무 진행</a:t>
            </a:r>
            <a:b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자동차 내 많은 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존재하고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일 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업데이트 하기 위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모듈은 내재화가 되어 있었지만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여러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업데이트 하기 위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모듈은 준비되어 있지 않아 과제를 진행하기로 결정함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22. 10)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1. Project Overview</a:t>
            </a:r>
            <a:r>
              <a:rPr kumimoji="1" lang="en-US" altLang="ko-KR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– </a:t>
            </a:r>
            <a:r>
              <a:rPr kumimoji="1" lang="ko-KR" altLang="en-US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과제의 배경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19" name="그림 18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412" y="3392996"/>
            <a:ext cx="7164796" cy="25922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34142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57954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과제 계획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2022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년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0</a:t>
            </a:r>
            <a:r>
              <a:rPr kumimoji="1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월 경 </a:t>
            </a: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oyota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Telematics ECU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수주 결정 후</a:t>
            </a:r>
            <a:r>
              <a:rPr kumimoji="1" lang="en-US" altLang="ko-KR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UCM Master </a:t>
            </a:r>
            <a:r>
              <a:rPr kumimoji="1" lang="ko-KR" altLang="en-US" sz="14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내재화 의사 결정 완료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br>
              <a:rPr kumimoji="1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~ 2023 1Q 1st Iteration: SAD / SDD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작성 및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totyp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발 완료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~ 2023 2Q 2nd Iteration</a:t>
            </a:r>
            <a:r>
              <a:rPr lang="en-US" altLang="ko-KR" sz="140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SAD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/ SDD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수정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Featur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구현 및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nit </a:t>
            </a:r>
            <a:r>
              <a:rPr lang="en-US" altLang="ko-KR" sz="140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est </a:t>
            </a:r>
            <a:r>
              <a:rPr lang="ko-KR" altLang="en-US" sz="140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완료</a:t>
            </a:r>
            <a:r>
              <a:rPr lang="en-US" altLang="ko-KR" sz="140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40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설계 검증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2023 3Q ~: Integration (to main repository) &amp;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타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ndor ECU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연동 검증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과제 목표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 Manufactur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요구사항 분석 및 설계 활동을 통해 아래 사항이 반영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모듈 설계 및 개발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양산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ject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일정에 맞추어 안정적인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모듈 제공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추후 다른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 Manufactur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로부터 추가 수주 대응 또는 </a:t>
            </a:r>
            <a:r>
              <a:rPr lang="en-US" altLang="ko-KR" sz="1400" dirty="0" err="1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oC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(Proof of concept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등의 요청에 빠르게 대응할 수 있는 확장성 있고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유연성 있는 구조 설계</a:t>
            </a:r>
            <a:endParaRPr kumimoji="1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1. Project Overview - </a:t>
            </a:r>
            <a:r>
              <a:rPr kumimoji="1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과제 계획 및 목표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404" y="1128408"/>
            <a:ext cx="7740860" cy="3234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3114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36194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ject Stakeholder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Vehicle Manufacturer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 (e.g. Toyota : </a:t>
            </a:r>
            <a:r>
              <a:rPr lang="en-US" altLang="ko-KR" sz="1400" dirty="0" err="1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ymeric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lang="en-US" altLang="ko-KR" sz="1400" dirty="0" err="1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ateau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타사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ECU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발팀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 (e.g. Denso : Florian Frank)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AUTOSAR Adaptive Platform </a:t>
            </a:r>
            <a:r>
              <a:rPr lang="ko-KR" altLang="en-US" sz="1400" dirty="0" err="1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수주팀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AUTOSAR Adaptive Platform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발팀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 (e.g. CTO Automotive Platform Task)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AUTOSAR Adaptive Applicat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발팀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 (e.g. VS </a:t>
            </a:r>
            <a:r>
              <a:rPr lang="en-US" altLang="ko-KR" sz="1400" dirty="0" err="1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reframework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Unit, OTA &amp; Update Unit)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2. Project Context</a:t>
            </a:r>
          </a:p>
        </p:txBody>
      </p:sp>
      <p:sp>
        <p:nvSpPr>
          <p:cNvPr id="6" name="직사각형 5"/>
          <p:cNvSpPr/>
          <p:nvPr/>
        </p:nvSpPr>
        <p:spPr>
          <a:xfrm>
            <a:off x="662733" y="6489340"/>
            <a:ext cx="825738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* Toyota </a:t>
            </a:r>
            <a:r>
              <a:rPr kumimoji="1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</a:t>
            </a:r>
            <a:r>
              <a:rPr kumimoji="1" lang="en-US" altLang="ko-KR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ymeric</a:t>
            </a:r>
            <a:r>
              <a: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ateau</a:t>
            </a:r>
            <a:r>
              <a: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및 </a:t>
            </a:r>
            <a:r>
              <a: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enso</a:t>
            </a:r>
            <a:r>
              <a:rPr kumimoji="1" lang="en-US" altLang="ko-KR" sz="1000" b="1" i="0" u="none" strike="noStrike" kern="1200" cap="none" spc="0" normalizeH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000" b="1" i="0" u="none" strike="noStrike" kern="1200" cap="none" spc="0" normalizeH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</a:t>
            </a:r>
            <a:r>
              <a:rPr kumimoji="1" lang="en-US" altLang="ko-KR" sz="1000" b="1" i="0" u="none" strike="noStrike" kern="1200" cap="none" spc="0" normalizeH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Florian Flank </a:t>
            </a:r>
            <a:r>
              <a:rPr kumimoji="1" lang="ko-KR" altLang="en-US" sz="1000" b="1" i="0" u="none" strike="noStrike" kern="1200" cap="none" spc="0" normalizeH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는 </a:t>
            </a:r>
            <a:r>
              <a:rPr kumimoji="1" lang="en-US" altLang="ko-KR" sz="1000" b="1" i="0" u="none" strike="noStrike" kern="1200" cap="none" spc="0" normalizeH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LG</a:t>
            </a:r>
            <a:r>
              <a:rPr kumimoji="1" lang="ko-KR" altLang="en-US" sz="1000" b="1" i="0" u="none" strike="noStrike" kern="1200" cap="none" spc="0" normalizeH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자 본인과 함께 </a:t>
            </a:r>
            <a:r>
              <a:rPr lang="en-US" altLang="ko-KR" sz="10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UTOSAR WG-UCM </a:t>
            </a:r>
            <a:r>
              <a:rPr lang="ko-KR" altLang="en-US" sz="10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그룹에서 함께 </a:t>
            </a:r>
            <a:r>
              <a:rPr lang="en-US" altLang="ko-KR" sz="10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quirement </a:t>
            </a:r>
            <a:r>
              <a:rPr lang="ko-KR" altLang="en-US" sz="10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발에 </a:t>
            </a:r>
            <a:r>
              <a:rPr lang="en-US" altLang="ko-KR" sz="10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ntribution </a:t>
            </a:r>
            <a:r>
              <a:rPr lang="ko-KR" altLang="en-US" sz="10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진행</a:t>
            </a:r>
            <a:endParaRPr kumimoji="1" lang="en-US" sz="10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rebuchet MS" pitchFamily="34" charset="0"/>
              <a:ea typeface="돋움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66253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5170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ystem Context Diagram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자동차 내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ject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대상이 되는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와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(s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그리고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 Software Upd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필요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cess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간의 관계</a:t>
            </a: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2. Project Context – System Context Diagram</a:t>
            </a:r>
          </a:p>
        </p:txBody>
      </p:sp>
      <p:grpSp>
        <p:nvGrpSpPr>
          <p:cNvPr id="74" name="그룹 73"/>
          <p:cNvGrpSpPr/>
          <p:nvPr/>
        </p:nvGrpSpPr>
        <p:grpSpPr>
          <a:xfrm>
            <a:off x="662733" y="1198848"/>
            <a:ext cx="7003618" cy="3612745"/>
            <a:chOff x="2742363" y="512143"/>
            <a:chExt cx="7003618" cy="3612745"/>
          </a:xfrm>
        </p:grpSpPr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5529443" y="787578"/>
              <a:ext cx="1240971" cy="3216885"/>
            </a:xfrm>
            <a:prstGeom prst="rect">
              <a:avLst/>
            </a:prstGeom>
            <a:gradFill rotWithShape="1">
              <a:gsLst>
                <a:gs pos="0">
                  <a:srgbClr val="ED7D31">
                    <a:lumMod val="110000"/>
                    <a:satMod val="105000"/>
                    <a:tint val="67000"/>
                  </a:srgbClr>
                </a:gs>
                <a:gs pos="50000">
                  <a:srgbClr val="ED7D31">
                    <a:lumMod val="105000"/>
                    <a:satMod val="103000"/>
                    <a:tint val="73000"/>
                  </a:srgbClr>
                </a:gs>
                <a:gs pos="100000">
                  <a:srgbClr val="ED7D31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UCM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Master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90" name="직사각형 89">
              <a:extLst>
                <a:ext uri="{FF2B5EF4-FFF2-40B4-BE49-F238E27FC236}">
                  <a16:creationId xmlns:a16="http://schemas.microsoft.com/office/drawing/2014/main" id="{C3951733-A893-9CEF-99DA-3B41F4385094}"/>
                </a:ext>
              </a:extLst>
            </p:cNvPr>
            <p:cNvSpPr/>
            <p:nvPr/>
          </p:nvSpPr>
          <p:spPr>
            <a:xfrm>
              <a:off x="2816768" y="787579"/>
              <a:ext cx="1240971" cy="831027"/>
            </a:xfrm>
            <a:prstGeom prst="rect">
              <a:avLst/>
            </a:prstGeom>
            <a:solidFill>
              <a:srgbClr val="70AD47"/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OTA Client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Application</a:t>
              </a:r>
            </a:p>
          </p:txBody>
        </p:sp>
        <p:sp>
          <p:nvSpPr>
            <p:cNvPr id="91" name="직사각형 90">
              <a:extLst>
                <a:ext uri="{FF2B5EF4-FFF2-40B4-BE49-F238E27FC236}">
                  <a16:creationId xmlns:a16="http://schemas.microsoft.com/office/drawing/2014/main" id="{C3951733-A893-9CEF-99DA-3B41F4385094}"/>
                </a:ext>
              </a:extLst>
            </p:cNvPr>
            <p:cNvSpPr/>
            <p:nvPr/>
          </p:nvSpPr>
          <p:spPr>
            <a:xfrm>
              <a:off x="8415556" y="3585364"/>
              <a:ext cx="1240971" cy="419100"/>
            </a:xfrm>
            <a:prstGeom prst="rect">
              <a:avLst/>
            </a:prstGeom>
            <a:solidFill>
              <a:srgbClr val="FFFF99"/>
            </a:solidFill>
            <a:ln w="12700" cap="flat" cmpd="sng" algn="ctr">
              <a:solidFill>
                <a:srgbClr val="AFA70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ara</a:t>
              </a: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::crypto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92" name="직사각형 91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8415556" y="785116"/>
              <a:ext cx="1240971" cy="419100"/>
            </a:xfrm>
            <a:prstGeom prst="rect">
              <a:avLst/>
            </a:prstGeom>
            <a:solidFill>
              <a:srgbClr val="FFFF99"/>
            </a:solidFill>
            <a:ln w="12700" cap="flat" cmpd="sng" algn="ctr">
              <a:solidFill>
                <a:srgbClr val="AFA70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kumimoji="0" lang="en-US" altLang="ko-KR" sz="1000" b="0" kern="0" dirty="0">
                  <a:solidFill>
                    <a:prstClr val="black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UCM</a:t>
              </a:r>
              <a:endParaRPr kumimoji="0" lang="ko-KR" altLang="en-US" sz="1000" b="0" kern="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8324115" y="876556"/>
              <a:ext cx="1240971" cy="419100"/>
            </a:xfrm>
            <a:prstGeom prst="rect">
              <a:avLst/>
            </a:prstGeom>
            <a:solidFill>
              <a:srgbClr val="FFFF99"/>
            </a:solidFill>
            <a:ln w="12700" cap="flat" cmpd="sng" algn="ctr">
              <a:solidFill>
                <a:srgbClr val="AFA70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kumimoji="0" lang="en-US" altLang="ko-KR" sz="1000" b="0" kern="0" dirty="0">
                  <a:solidFill>
                    <a:prstClr val="black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UCM</a:t>
              </a:r>
              <a:endParaRPr kumimoji="0" lang="ko-KR" altLang="en-US" sz="1000" b="0" kern="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8232674" y="994666"/>
              <a:ext cx="1240971" cy="419100"/>
            </a:xfrm>
            <a:prstGeom prst="rect">
              <a:avLst/>
            </a:prstGeom>
            <a:solidFill>
              <a:srgbClr val="FFFF99"/>
            </a:solidFill>
            <a:ln w="12700" cap="flat" cmpd="sng" algn="ctr">
              <a:solidFill>
                <a:srgbClr val="AFA70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kumimoji="0" lang="en-US" altLang="ko-KR" sz="1000" b="0" kern="0" dirty="0">
                  <a:solidFill>
                    <a:prstClr val="black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UCM Subordinate</a:t>
              </a:r>
              <a:endParaRPr kumimoji="0" lang="ko-KR" altLang="en-US" sz="1000" b="0" kern="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C3951733-A893-9CEF-99DA-3B41F4385094}"/>
                </a:ext>
              </a:extLst>
            </p:cNvPr>
            <p:cNvSpPr/>
            <p:nvPr/>
          </p:nvSpPr>
          <p:spPr>
            <a:xfrm>
              <a:off x="2816767" y="2850930"/>
              <a:ext cx="1240971" cy="419100"/>
            </a:xfrm>
            <a:prstGeom prst="rect">
              <a:avLst/>
            </a:prstGeom>
            <a:solidFill>
              <a:srgbClr val="70AD47"/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Vehicle</a:t>
              </a:r>
              <a:b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</a:b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State Manager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96" name="직사각형 95">
              <a:extLst>
                <a:ext uri="{FF2B5EF4-FFF2-40B4-BE49-F238E27FC236}">
                  <a16:creationId xmlns:a16="http://schemas.microsoft.com/office/drawing/2014/main" id="{C3951733-A893-9CEF-99DA-3B41F4385094}"/>
                </a:ext>
              </a:extLst>
            </p:cNvPr>
            <p:cNvSpPr/>
            <p:nvPr/>
          </p:nvSpPr>
          <p:spPr>
            <a:xfrm>
              <a:off x="2816766" y="3585364"/>
              <a:ext cx="1240971" cy="419100"/>
            </a:xfrm>
            <a:prstGeom prst="rect">
              <a:avLst/>
            </a:prstGeom>
            <a:solidFill>
              <a:srgbClr val="70AD47"/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Vehicle</a:t>
              </a:r>
              <a:b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</a:b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Driver Application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C3951733-A893-9CEF-99DA-3B41F4385094}"/>
                </a:ext>
              </a:extLst>
            </p:cNvPr>
            <p:cNvSpPr/>
            <p:nvPr/>
          </p:nvSpPr>
          <p:spPr>
            <a:xfrm>
              <a:off x="2821490" y="2116496"/>
              <a:ext cx="1240971" cy="419100"/>
            </a:xfrm>
            <a:prstGeom prst="rect">
              <a:avLst/>
            </a:prstGeom>
            <a:solidFill>
              <a:srgbClr val="70AD47"/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Diagnostic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Application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cxnSp>
          <p:nvCxnSpPr>
            <p:cNvPr id="98" name="직선 화살표 연결선 97"/>
            <p:cNvCxnSpPr/>
            <p:nvPr/>
          </p:nvCxnSpPr>
          <p:spPr>
            <a:xfrm flipV="1">
              <a:off x="4054319" y="1142133"/>
              <a:ext cx="1462260" cy="225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99" name="직사각형 98"/>
            <p:cNvSpPr/>
            <p:nvPr/>
          </p:nvSpPr>
          <p:spPr>
            <a:xfrm>
              <a:off x="4063885" y="680691"/>
              <a:ext cx="1462260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Transfer</a:t>
              </a:r>
              <a:b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</a:b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- Vehicle Software Package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- Software Package</a:t>
              </a:r>
              <a:endPara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cxnSp>
          <p:nvCxnSpPr>
            <p:cNvPr id="100" name="직선 화살표 연결선 99"/>
            <p:cNvCxnSpPr/>
            <p:nvPr/>
          </p:nvCxnSpPr>
          <p:spPr>
            <a:xfrm flipV="1">
              <a:off x="4075325" y="2325823"/>
              <a:ext cx="1462260" cy="225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101" name="직사각형 100"/>
            <p:cNvSpPr/>
            <p:nvPr/>
          </p:nvSpPr>
          <p:spPr>
            <a:xfrm>
              <a:off x="4063885" y="1864381"/>
              <a:ext cx="1462260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Transfer</a:t>
              </a:r>
              <a:b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</a:b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- Vehicle Software Package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- Software Package</a:t>
              </a:r>
              <a:endPara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cxnSp>
          <p:nvCxnSpPr>
            <p:cNvPr id="102" name="직선 화살표 연결선 101"/>
            <p:cNvCxnSpPr/>
            <p:nvPr/>
          </p:nvCxnSpPr>
          <p:spPr>
            <a:xfrm flipV="1">
              <a:off x="6783278" y="1142133"/>
              <a:ext cx="1462260" cy="225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103" name="직사각형 102"/>
            <p:cNvSpPr/>
            <p:nvPr/>
          </p:nvSpPr>
          <p:spPr>
            <a:xfrm>
              <a:off x="6783278" y="794991"/>
              <a:ext cx="1099981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Transfer</a:t>
              </a:r>
              <a:b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</a:b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- Software Package</a:t>
              </a:r>
              <a:endPara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cxnSp>
          <p:nvCxnSpPr>
            <p:cNvPr id="104" name="직선 화살표 연결선 103"/>
            <p:cNvCxnSpPr/>
            <p:nvPr/>
          </p:nvCxnSpPr>
          <p:spPr>
            <a:xfrm flipV="1">
              <a:off x="4075325" y="3060367"/>
              <a:ext cx="1462260" cy="225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105" name="직사각형 104"/>
            <p:cNvSpPr/>
            <p:nvPr/>
          </p:nvSpPr>
          <p:spPr>
            <a:xfrm>
              <a:off x="4063885" y="2715351"/>
              <a:ext cx="1377300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Vehicle State </a:t>
              </a:r>
              <a:r>
                <a:rPr kumimoji="0" lang="ko-KR" alt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정보 전송</a:t>
              </a:r>
              <a:endPara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e.g. Parking, Door close …</a:t>
              </a: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cxnSp>
          <p:nvCxnSpPr>
            <p:cNvPr id="106" name="직선 화살표 연결선 105"/>
            <p:cNvCxnSpPr/>
            <p:nvPr/>
          </p:nvCxnSpPr>
          <p:spPr>
            <a:xfrm flipH="1">
              <a:off x="4054319" y="1261683"/>
              <a:ext cx="1462260" cy="225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107" name="직사각형 106"/>
            <p:cNvSpPr/>
            <p:nvPr/>
          </p:nvSpPr>
          <p:spPr>
            <a:xfrm>
              <a:off x="4054319" y="1257223"/>
              <a:ext cx="1399742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Installed Software version</a:t>
              </a:r>
            </a:p>
          </p:txBody>
        </p:sp>
        <p:cxnSp>
          <p:nvCxnSpPr>
            <p:cNvPr id="108" name="직선 화살표 연결선 107"/>
            <p:cNvCxnSpPr/>
            <p:nvPr/>
          </p:nvCxnSpPr>
          <p:spPr>
            <a:xfrm flipV="1">
              <a:off x="4070601" y="3756582"/>
              <a:ext cx="1462260" cy="225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109" name="직사각형 108"/>
            <p:cNvSpPr/>
            <p:nvPr/>
          </p:nvSpPr>
          <p:spPr>
            <a:xfrm>
              <a:off x="4061035" y="3414108"/>
              <a:ext cx="135966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Software Update </a:t>
              </a:r>
              <a:r>
                <a:rPr kumimoji="0" lang="ko-KR" alt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동의</a:t>
              </a: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/</a:t>
              </a:r>
              <a:r>
                <a:rPr kumimoji="0" lang="ko-KR" alt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거부</a:t>
              </a:r>
              <a:endPara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응답 전송</a:t>
              </a:r>
            </a:p>
          </p:txBody>
        </p:sp>
        <p:cxnSp>
          <p:nvCxnSpPr>
            <p:cNvPr id="110" name="직선 화살표 연결선 109"/>
            <p:cNvCxnSpPr/>
            <p:nvPr/>
          </p:nvCxnSpPr>
          <p:spPr>
            <a:xfrm flipH="1">
              <a:off x="4049595" y="3830305"/>
              <a:ext cx="1462260" cy="225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111" name="직사각형 110"/>
            <p:cNvSpPr/>
            <p:nvPr/>
          </p:nvSpPr>
          <p:spPr>
            <a:xfrm>
              <a:off x="4049595" y="3825845"/>
              <a:ext cx="1342034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Software Update </a:t>
              </a:r>
              <a:r>
                <a:rPr kumimoji="0" lang="ko-KR" alt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동의 요청</a:t>
              </a:r>
              <a:endPara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cxnSp>
          <p:nvCxnSpPr>
            <p:cNvPr id="112" name="직선 화살표 연결선 111"/>
            <p:cNvCxnSpPr/>
            <p:nvPr/>
          </p:nvCxnSpPr>
          <p:spPr>
            <a:xfrm flipH="1">
              <a:off x="6764389" y="1266960"/>
              <a:ext cx="1462260" cy="225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113" name="직사각형 112"/>
            <p:cNvSpPr/>
            <p:nvPr/>
          </p:nvSpPr>
          <p:spPr>
            <a:xfrm>
              <a:off x="6764389" y="1262500"/>
              <a:ext cx="1399742" cy="107721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Installed Software version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Result of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  - Transfer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  - Activation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  - Finish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  - Rollback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  - Cancel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History of UCM</a:t>
              </a:r>
            </a:p>
          </p:txBody>
        </p:sp>
        <p:cxnSp>
          <p:nvCxnSpPr>
            <p:cNvPr id="114" name="직선 화살표 연결선 113"/>
            <p:cNvCxnSpPr/>
            <p:nvPr/>
          </p:nvCxnSpPr>
          <p:spPr>
            <a:xfrm flipV="1">
              <a:off x="6769091" y="3717071"/>
              <a:ext cx="1638000" cy="225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115" name="직사각형 114"/>
            <p:cNvSpPr/>
            <p:nvPr/>
          </p:nvSpPr>
          <p:spPr>
            <a:xfrm>
              <a:off x="6780531" y="3374597"/>
              <a:ext cx="1459054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Encryption / Decryption </a:t>
              </a:r>
              <a:r>
                <a:rPr kumimoji="0" lang="ko-KR" alt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요청</a:t>
              </a:r>
              <a:endParaRPr kumimoji="0" lang="en-US" altLang="ko-KR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Signature Verification </a:t>
              </a:r>
              <a:r>
                <a:rPr kumimoji="0" lang="ko-KR" alt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요청</a:t>
              </a:r>
              <a:endParaRPr kumimoji="0" lang="ko-KR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cxnSp>
          <p:nvCxnSpPr>
            <p:cNvPr id="116" name="직선 화살표 연결선 115"/>
            <p:cNvCxnSpPr/>
            <p:nvPr/>
          </p:nvCxnSpPr>
          <p:spPr>
            <a:xfrm flipH="1">
              <a:off x="6769091" y="3790794"/>
              <a:ext cx="1638000" cy="225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117" name="직사각형 116"/>
            <p:cNvSpPr/>
            <p:nvPr/>
          </p:nvSpPr>
          <p:spPr>
            <a:xfrm>
              <a:off x="6769091" y="3786334"/>
              <a:ext cx="1564852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Encrypted / Decrypted Data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Signature Verification </a:t>
              </a:r>
              <a:r>
                <a:rPr kumimoji="0" lang="ko-KR" alt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결과 반환</a:t>
              </a:r>
              <a:endPara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sp>
          <p:nvSpPr>
            <p:cNvPr id="118" name="직사각형 117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2742363" y="512143"/>
              <a:ext cx="7003618" cy="3612745"/>
            </a:xfrm>
            <a:prstGeom prst="rect">
              <a:avLst/>
            </a:prstGeom>
            <a:noFill/>
            <a:ln w="6350" cap="flat" cmpd="sng" algn="ctr">
              <a:solidFill>
                <a:srgbClr val="FF0000"/>
              </a:solidFill>
              <a:prstDash val="dash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In Vehicle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</p:grp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F4D0266C-7BF1-04E7-6E17-C87CE3B5157A}"/>
              </a:ext>
            </a:extLst>
          </p:cNvPr>
          <p:cNvSpPr/>
          <p:nvPr/>
        </p:nvSpPr>
        <p:spPr>
          <a:xfrm>
            <a:off x="662734" y="4856713"/>
            <a:ext cx="7003618" cy="802461"/>
          </a:xfrm>
          <a:prstGeom prst="rect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Key</a:t>
            </a:r>
          </a:p>
        </p:txBody>
      </p:sp>
      <p:grpSp>
        <p:nvGrpSpPr>
          <p:cNvPr id="77" name="그룹 76"/>
          <p:cNvGrpSpPr/>
          <p:nvPr/>
        </p:nvGrpSpPr>
        <p:grpSpPr>
          <a:xfrm>
            <a:off x="742879" y="5095006"/>
            <a:ext cx="2716095" cy="246221"/>
            <a:chOff x="2816766" y="5676854"/>
            <a:chExt cx="2716095" cy="246221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A1CF295E-6B3F-2766-45CA-F09B50CFCE7C}"/>
                </a:ext>
              </a:extLst>
            </p:cNvPr>
            <p:cNvSpPr/>
            <p:nvPr/>
          </p:nvSpPr>
          <p:spPr>
            <a:xfrm>
              <a:off x="2816766" y="5727020"/>
              <a:ext cx="345621" cy="157066"/>
            </a:xfrm>
            <a:prstGeom prst="rect">
              <a:avLst/>
            </a:prstGeom>
            <a:gradFill rotWithShape="1">
              <a:gsLst>
                <a:gs pos="0">
                  <a:srgbClr val="ED7D31">
                    <a:lumMod val="110000"/>
                    <a:satMod val="105000"/>
                    <a:tint val="67000"/>
                  </a:srgbClr>
                </a:gs>
                <a:gs pos="50000">
                  <a:srgbClr val="ED7D31">
                    <a:lumMod val="105000"/>
                    <a:satMod val="103000"/>
                    <a:tint val="73000"/>
                  </a:srgbClr>
                </a:gs>
                <a:gs pos="100000">
                  <a:srgbClr val="ED7D31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88" name="직사각형 87"/>
            <p:cNvSpPr/>
            <p:nvPr/>
          </p:nvSpPr>
          <p:spPr>
            <a:xfrm>
              <a:off x="3166508" y="5676854"/>
              <a:ext cx="2366353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Adaptive AUTOSAR Functional Cluster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+mn-ea"/>
              </a:endParaRPr>
            </a:p>
          </p:txBody>
        </p:sp>
      </p:grpSp>
      <p:grpSp>
        <p:nvGrpSpPr>
          <p:cNvPr id="78" name="그룹 77"/>
          <p:cNvGrpSpPr/>
          <p:nvPr/>
        </p:nvGrpSpPr>
        <p:grpSpPr>
          <a:xfrm>
            <a:off x="4675947" y="5101628"/>
            <a:ext cx="2320153" cy="246221"/>
            <a:chOff x="2816766" y="6073772"/>
            <a:chExt cx="2320153" cy="246221"/>
          </a:xfrm>
        </p:grpSpPr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A2F3B4E0-87BF-47F7-462E-6B168BF2BA16}"/>
                </a:ext>
              </a:extLst>
            </p:cNvPr>
            <p:cNvSpPr/>
            <p:nvPr/>
          </p:nvSpPr>
          <p:spPr>
            <a:xfrm>
              <a:off x="2816766" y="6120349"/>
              <a:ext cx="345621" cy="153065"/>
            </a:xfrm>
            <a:prstGeom prst="rect">
              <a:avLst/>
            </a:prstGeom>
            <a:solidFill>
              <a:srgbClr val="70AD47"/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86" name="직사각형 85"/>
            <p:cNvSpPr/>
            <p:nvPr/>
          </p:nvSpPr>
          <p:spPr>
            <a:xfrm>
              <a:off x="3166508" y="6073772"/>
              <a:ext cx="1970411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Adaptive AUTOSAR Application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+mn-ea"/>
              </a:endParaRPr>
            </a:p>
          </p:txBody>
        </p:sp>
      </p:grpSp>
      <p:grpSp>
        <p:nvGrpSpPr>
          <p:cNvPr id="79" name="그룹 78"/>
          <p:cNvGrpSpPr/>
          <p:nvPr/>
        </p:nvGrpSpPr>
        <p:grpSpPr>
          <a:xfrm>
            <a:off x="737135" y="5385951"/>
            <a:ext cx="3755529" cy="246221"/>
            <a:chOff x="2816765" y="6465099"/>
            <a:chExt cx="3755529" cy="246221"/>
          </a:xfrm>
        </p:grpSpPr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A1CF295E-6B3F-2766-45CA-F09B50CFCE7C}"/>
                </a:ext>
              </a:extLst>
            </p:cNvPr>
            <p:cNvSpPr/>
            <p:nvPr/>
          </p:nvSpPr>
          <p:spPr>
            <a:xfrm>
              <a:off x="2816765" y="6509677"/>
              <a:ext cx="345621" cy="157066"/>
            </a:xfrm>
            <a:prstGeom prst="rect">
              <a:avLst/>
            </a:prstGeom>
            <a:solidFill>
              <a:srgbClr val="FFFF99"/>
            </a:solidFill>
            <a:ln w="6350" cap="flat" cmpd="sng" algn="ctr">
              <a:solidFill>
                <a:srgbClr val="AFA70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84" name="직사각형 83"/>
            <p:cNvSpPr/>
            <p:nvPr/>
          </p:nvSpPr>
          <p:spPr>
            <a:xfrm>
              <a:off x="3162386" y="6465099"/>
              <a:ext cx="3409908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Adaptive AUTOSAR Functional Cluster (Project</a:t>
              </a:r>
              <a:r>
                <a:rPr kumimoji="0" lang="en-US" altLang="ko-KR" sz="1000" b="0" i="0" u="none" strike="noStrike" kern="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 scope </a:t>
              </a:r>
              <a:r>
                <a:rPr kumimoji="0" lang="ko-KR" altLang="en-US" sz="1000" b="0" i="0" u="none" strike="noStrike" kern="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외</a:t>
              </a: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)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+mn-ea"/>
              </a:endParaRPr>
            </a:p>
          </p:txBody>
        </p:sp>
      </p:grpSp>
      <p:grpSp>
        <p:nvGrpSpPr>
          <p:cNvPr id="80" name="그룹 79"/>
          <p:cNvGrpSpPr/>
          <p:nvPr/>
        </p:nvGrpSpPr>
        <p:grpSpPr>
          <a:xfrm>
            <a:off x="4675947" y="5382095"/>
            <a:ext cx="1076911" cy="246221"/>
            <a:chOff x="2816765" y="6738906"/>
            <a:chExt cx="1076911" cy="246221"/>
          </a:xfrm>
        </p:grpSpPr>
        <p:cxnSp>
          <p:nvCxnSpPr>
            <p:cNvPr id="81" name="직선 연결선 80">
              <a:extLst>
                <a:ext uri="{FF2B5EF4-FFF2-40B4-BE49-F238E27FC236}">
                  <a16:creationId xmlns:a16="http://schemas.microsoft.com/office/drawing/2014/main" id="{6AC133DC-B6ED-23B2-A848-72A04A0DD806}"/>
                </a:ext>
              </a:extLst>
            </p:cNvPr>
            <p:cNvCxnSpPr>
              <a:cxnSpLocks/>
            </p:cNvCxnSpPr>
            <p:nvPr/>
          </p:nvCxnSpPr>
          <p:spPr>
            <a:xfrm>
              <a:off x="2816765" y="6855436"/>
              <a:ext cx="348061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82" name="직사각형 81"/>
            <p:cNvSpPr/>
            <p:nvPr/>
          </p:nvSpPr>
          <p:spPr>
            <a:xfrm>
              <a:off x="3162386" y="6738906"/>
              <a:ext cx="73129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Data flow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+mn-ea"/>
              </a:endParaRPr>
            </a:p>
          </p:txBody>
        </p:sp>
      </p:grpSp>
      <p:sp>
        <p:nvSpPr>
          <p:cNvPr id="51" name="텍스트 개체 틀 3"/>
          <p:cNvSpPr txBox="1">
            <a:spLocks/>
          </p:cNvSpPr>
          <p:nvPr/>
        </p:nvSpPr>
        <p:spPr>
          <a:xfrm>
            <a:off x="438485" y="5767352"/>
            <a:ext cx="11418155" cy="10100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ject Scope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Toyota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및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UTOSAR Adaptive Standard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준수하는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기능 설계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/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구현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Adaptive AUTOSAR Applicat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과의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teract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을 위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terfac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제공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타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UTOSAR Adaptive Functional Clust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기능을 사용하기 위하여 타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Functional Clust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서 제공하는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Lib / Interfac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포함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Use)</a:t>
            </a:r>
          </a:p>
        </p:txBody>
      </p:sp>
    </p:spTree>
    <p:extLst>
      <p:ext uri="{BB962C8B-B14F-4D97-AF65-F5344CB8AC3E}">
        <p14:creationId xmlns:p14="http://schemas.microsoft.com/office/powerpoint/2010/main" val="32102974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사용자 지정 4">
      <a:majorFont>
        <a:latin typeface="Arial Narrow"/>
        <a:ea typeface="LG스마트체 Bold"/>
        <a:cs typeface=""/>
      </a:majorFont>
      <a:minorFont>
        <a:latin typeface="Arial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</a:spPr>
      <a:bodyPr>
        <a:spAutoFit/>
      </a:bodyPr>
      <a:lstStyle>
        <a:defPPr marL="0" marR="0">
          <a:spcBef>
            <a:spcPts val="0"/>
          </a:spcBef>
          <a:spcAft>
            <a:spcPts val="0"/>
          </a:spcAft>
          <a:defRPr sz="1000" dirty="0">
            <a:solidFill>
              <a:srgbClr val="000000"/>
            </a:solidFill>
            <a:latin typeface="Malgun Gothic" panose="020B0503020000020004" pitchFamily="50" charset="-127"/>
            <a:ea typeface="Malgun Gothic" panose="020B0503020000020004" pitchFamily="50" charset="-127"/>
          </a:defRPr>
        </a:defPPr>
      </a:lst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5_기본 디자인">
  <a:themeElements>
    <a:clrScheme name="1_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noFill/>
          <a:miter lim="800000"/>
          <a:headEnd/>
          <a:tailEnd/>
        </a:ln>
      </a:spPr>
      <a:bodyPr wrap="none" lIns="0" tIns="0" rIns="0" bIns="0" anchor="t">
        <a:spAutoFit/>
      </a:bodyPr>
      <a:lstStyle>
        <a:defPPr>
          <a:buFont typeface="Wingdings" pitchFamily="2" charset="2"/>
          <a:buChar char="§"/>
          <a:defRPr sz="1200" b="1" smtClean="0">
            <a:latin typeface="Arial Narrow" panose="020B0606020202030204" pitchFamily="34" charset="0"/>
            <a:ea typeface="LG스마트체 Regular" panose="020B0600000101010101" pitchFamily="50" charset="-127"/>
            <a:cs typeface="Arial" pitchFamily="34" charset="0"/>
          </a:defRPr>
        </a:defPPr>
      </a:lstStyle>
    </a:sp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3_기본 디자인">
  <a:themeElements>
    <a:clrScheme name="1_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사내문서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noFill/>
        </a:ln>
      </a:spPr>
      <a:bodyPr rtlCol="0" anchor="ctr"/>
      <a:lstStyle>
        <a:defPPr algn="ctr">
          <a:defRPr smtClean="0">
            <a:solidFill>
              <a:schemeClr val="tx1"/>
            </a:solidFill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  <a:lumOff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ctr">
          <a:defRPr sz="1100" dirty="0" smtClean="0"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tx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0_Blank">
  <a:themeElements>
    <a:clrScheme name="7_Blank 12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7_Blank">
      <a:majorFont>
        <a:latin typeface="Arial"/>
        <a:ea typeface="돋움"/>
        <a:cs typeface=""/>
      </a:majorFont>
      <a:minorFont>
        <a:latin typeface="Arial"/>
        <a:ea typeface="돋움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ot="0" spcFirstLastPara="0" vertOverflow="overflow" horzOverflow="overflow" vert="horz" wrap="non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1" hangingPunct="1">
          <a:spcBef>
            <a:spcPct val="0"/>
          </a:spcBef>
          <a:spcAft>
            <a:spcPct val="0"/>
          </a:spcAft>
          <a:buClrTx/>
          <a:buSzTx/>
          <a:tabLst/>
          <a:defRPr kumimoji="1" sz="1200" b="1" dirty="0" smtClean="0">
            <a:latin typeface="Arial" charset="0"/>
            <a:ea typeface="돋움" pitchFamily="50" charset="-127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32" tIns="45715" rIns="91432" bIns="45715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30000"/>
          </a:lnSpc>
          <a:spcBef>
            <a:spcPct val="0"/>
          </a:spcBef>
          <a:spcAft>
            <a:spcPct val="0"/>
          </a:spcAft>
          <a:buClrTx/>
          <a:buSzTx/>
          <a:buFontTx/>
          <a:buChar char="•"/>
          <a:tabLst/>
          <a:defRPr kumimoji="1" lang="ko-KR" alt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돋움" pitchFamily="50" charset="-127"/>
            <a:cs typeface="Arial" charset="0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19050" algn="ctr">
              <a:solidFill>
                <a:srgbClr val="000000"/>
              </a:solidFill>
              <a:round/>
              <a:headEnd/>
              <a:tailEnd/>
            </a14:hiddenLine>
          </a:ext>
        </a:extLst>
      </a:spPr>
      <a:bodyPr wrap="none" lIns="0" tIns="0" rIns="0" bIns="0">
        <a:spAutoFit/>
      </a:bodyPr>
      <a:lstStyle>
        <a:defPPr marL="263525" indent="-263525" eaLnBrk="1" hangingPunct="1">
          <a:lnSpc>
            <a:spcPts val="1900"/>
          </a:lnSpc>
          <a:spcBef>
            <a:spcPts val="600"/>
          </a:spcBef>
          <a:buFont typeface="Wingdings" pitchFamily="2" charset="2"/>
          <a:buChar char="q"/>
          <a:defRPr sz="1400" dirty="0" smtClean="0"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txDef>
  </a:objectDefaults>
  <a:extraClrSchemeLst>
    <a:extraClrScheme>
      <a:clrScheme name="7_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11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12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1_Blank">
  <a:themeElements>
    <a:clrScheme name="7_Blank 12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7_Blank">
      <a:majorFont>
        <a:latin typeface="Arial"/>
        <a:ea typeface="돋움"/>
        <a:cs typeface=""/>
      </a:majorFont>
      <a:minorFont>
        <a:latin typeface="Arial"/>
        <a:ea typeface="돋움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ot="0" spcFirstLastPara="0" vertOverflow="overflow" horzOverflow="overflow" vert="horz" wrap="non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1" hangingPunct="1">
          <a:spcBef>
            <a:spcPct val="0"/>
          </a:spcBef>
          <a:spcAft>
            <a:spcPct val="0"/>
          </a:spcAft>
          <a:buClrTx/>
          <a:buSzTx/>
          <a:tabLst/>
          <a:defRPr kumimoji="1" sz="1200" b="1" dirty="0" smtClean="0">
            <a:latin typeface="Arial" charset="0"/>
            <a:ea typeface="돋움" pitchFamily="50" charset="-127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32" tIns="45715" rIns="91432" bIns="45715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30000"/>
          </a:lnSpc>
          <a:spcBef>
            <a:spcPct val="0"/>
          </a:spcBef>
          <a:spcAft>
            <a:spcPct val="0"/>
          </a:spcAft>
          <a:buClrTx/>
          <a:buSzTx/>
          <a:buFontTx/>
          <a:buChar char="•"/>
          <a:tabLst/>
          <a:defRPr kumimoji="1" lang="ko-KR" alt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돋움" pitchFamily="50" charset="-127"/>
            <a:cs typeface="Arial" charset="0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19050" algn="ctr">
              <a:solidFill>
                <a:srgbClr val="000000"/>
              </a:solidFill>
              <a:round/>
              <a:headEnd/>
              <a:tailEnd/>
            </a14:hiddenLine>
          </a:ext>
        </a:extLst>
      </a:spPr>
      <a:bodyPr wrap="none" lIns="0" tIns="0" rIns="0" bIns="0">
        <a:spAutoFit/>
      </a:bodyPr>
      <a:lstStyle>
        <a:defPPr marL="263525" indent="-263525" eaLnBrk="1" hangingPunct="1">
          <a:lnSpc>
            <a:spcPts val="1900"/>
          </a:lnSpc>
          <a:spcBef>
            <a:spcPts val="600"/>
          </a:spcBef>
          <a:buFont typeface="Wingdings" pitchFamily="2" charset="2"/>
          <a:buChar char="q"/>
          <a:defRPr sz="1400" dirty="0" smtClean="0"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txDef>
  </a:objectDefaults>
  <a:extraClrSchemeLst>
    <a:extraClrScheme>
      <a:clrScheme name="7_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11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12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2_Blank">
  <a:themeElements>
    <a:clrScheme name="7_Blank 12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7_Blank">
      <a:majorFont>
        <a:latin typeface="Arial"/>
        <a:ea typeface="돋움"/>
        <a:cs typeface=""/>
      </a:majorFont>
      <a:minorFont>
        <a:latin typeface="Arial"/>
        <a:ea typeface="돋움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ot="0" spcFirstLastPara="0" vertOverflow="overflow" horzOverflow="overflow" vert="horz" wrap="non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1" hangingPunct="1">
          <a:spcBef>
            <a:spcPct val="0"/>
          </a:spcBef>
          <a:spcAft>
            <a:spcPct val="0"/>
          </a:spcAft>
          <a:buClrTx/>
          <a:buSzTx/>
          <a:tabLst/>
          <a:defRPr kumimoji="1" sz="1200" b="1" dirty="0" smtClean="0">
            <a:latin typeface="Arial" charset="0"/>
            <a:ea typeface="돋움" pitchFamily="50" charset="-127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32" tIns="45715" rIns="91432" bIns="45715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30000"/>
          </a:lnSpc>
          <a:spcBef>
            <a:spcPct val="0"/>
          </a:spcBef>
          <a:spcAft>
            <a:spcPct val="0"/>
          </a:spcAft>
          <a:buClrTx/>
          <a:buSzTx/>
          <a:buFontTx/>
          <a:buChar char="•"/>
          <a:tabLst/>
          <a:defRPr kumimoji="1" lang="ko-KR" alt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돋움" pitchFamily="50" charset="-127"/>
            <a:cs typeface="Arial" charset="0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19050" algn="ctr">
              <a:solidFill>
                <a:srgbClr val="000000"/>
              </a:solidFill>
              <a:round/>
              <a:headEnd/>
              <a:tailEnd/>
            </a14:hiddenLine>
          </a:ext>
        </a:extLst>
      </a:spPr>
      <a:bodyPr wrap="none" lIns="0" tIns="0" rIns="0" bIns="0">
        <a:spAutoFit/>
      </a:bodyPr>
      <a:lstStyle>
        <a:defPPr marL="263525" indent="-263525" eaLnBrk="1" hangingPunct="1">
          <a:lnSpc>
            <a:spcPts val="1900"/>
          </a:lnSpc>
          <a:spcBef>
            <a:spcPts val="600"/>
          </a:spcBef>
          <a:buFont typeface="Wingdings" pitchFamily="2" charset="2"/>
          <a:buChar char="q"/>
          <a:defRPr sz="1400" dirty="0" smtClean="0"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txDef>
  </a:objectDefaults>
  <a:extraClrSchemeLst>
    <a:extraClrScheme>
      <a:clrScheme name="7_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11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12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8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LGSmartReg-ArialNarrow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alpha val="27000"/>
          </a:schemeClr>
        </a:solidFill>
        <a:ln>
          <a:noFill/>
        </a:ln>
      </a:spPr>
      <a:bodyPr rtlCol="0" anchor="ctr"/>
      <a:lstStyle>
        <a:defPPr algn="ctr">
          <a:defRPr>
            <a:solidFill>
              <a:prstClr val="white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사용자 지정 3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bg1">
              <a:lumMod val="50000"/>
            </a:schemeClr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300" b="1" dirty="0" err="1" smtClean="0">
            <a:solidFill>
              <a:schemeClr val="tx1"/>
            </a:solidFill>
            <a:latin typeface="Arial Narrow" panose="020B0606020202030204" pitchFamily="34" charset="0"/>
            <a:ea typeface="LG스마트체 Regular" panose="020B0600000101010101" pitchFamily="50" charset="-127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lnSpc>
            <a:spcPct val="120000"/>
          </a:lnSpc>
          <a:spcBef>
            <a:spcPts val="600"/>
          </a:spcBef>
          <a:defRPr sz="1300" b="1" dirty="0" err="1" smtClean="0">
            <a:latin typeface="Arial Narrow" panose="020B0606020202030204" pitchFamily="34" charset="0"/>
            <a:ea typeface="LG스마트체 Regular" panose="020B0600000101010101" pitchFamily="50" charset="-127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프레젠테이션1" id="{33E8DD9D-36A9-45EB-88C4-085946D60B2F}" vid="{451BD2D1-5066-477E-94DE-E39D457C8750}"/>
    </a:ext>
  </a:extLst>
</a:theme>
</file>

<file path=ppt/theme/theme17.xml><?xml version="1.0" encoding="utf-8"?>
<a:theme xmlns:a="http://schemas.openxmlformats.org/drawingml/2006/main" name="6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양식">
  <a:themeElements>
    <a:clrScheme name="1_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회사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65000"/>
              <a:lumOff val="3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smtClean="0">
            <a:latin typeface="+mn-lt"/>
            <a:ea typeface="+mn-ea"/>
          </a:defRPr>
        </a:defPPr>
      </a:lstStyle>
    </a:tx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공유_Vision1.0 전사 보고서 양식_국문 [읽기 전용]" id="{DCEB7387-A6D3-4FA2-98D3-15C610A3D6D2}" vid="{F26EEE4C-17B5-41BB-AE1D-9BFDD3EEED93}"/>
    </a:ext>
  </a:extLst>
</a:theme>
</file>

<file path=ppt/theme/theme19.xml><?xml version="1.0" encoding="utf-8"?>
<a:theme xmlns:a="http://schemas.openxmlformats.org/drawingml/2006/main" name="7_디자인 사용자 지정">
  <a:themeElements>
    <a:clrScheme name="사용자 지정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0000"/>
      </a:hlink>
      <a:folHlink>
        <a:srgbClr val="000000"/>
      </a:folHlink>
    </a:clrScheme>
    <a:fontScheme name="LG format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600" b="1" i="0" u="none" strike="noStrike" cap="none" normalizeH="0" baseline="0" smtClean="0">
            <a:ln>
              <a:noFill/>
            </a:ln>
            <a:solidFill>
              <a:srgbClr val="FF3300"/>
            </a:solidFill>
            <a:effectLst/>
            <a:latin typeface="Arial" charset="0"/>
            <a:ea typeface="돋움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600" b="1" i="0" u="none" strike="noStrike" cap="none" normalizeH="0" baseline="0" smtClean="0">
            <a:ln>
              <a:noFill/>
            </a:ln>
            <a:solidFill>
              <a:srgbClr val="FF3300"/>
            </a:solidFill>
            <a:effectLst/>
            <a:latin typeface="Arial" charset="0"/>
            <a:ea typeface="돋움" pitchFamily="50" charset="-127"/>
          </a:defRPr>
        </a:defPPr>
      </a:lstStyle>
    </a:lnDef>
  </a:objectDefaults>
  <a:extraClrSchemeLst>
    <a:extraClrScheme>
      <a:clrScheme name="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사용자 지정 4">
      <a:majorFont>
        <a:latin typeface="Arial Narrow"/>
        <a:ea typeface="LG스마트체 Bold"/>
        <a:cs typeface=""/>
      </a:majorFont>
      <a:minorFont>
        <a:latin typeface="Arial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</a:spPr>
      <a:bodyPr>
        <a:spAutoFit/>
      </a:bodyPr>
      <a:lstStyle>
        <a:defPPr marL="0" marR="0">
          <a:spcBef>
            <a:spcPts val="0"/>
          </a:spcBef>
          <a:spcAft>
            <a:spcPts val="0"/>
          </a:spcAft>
          <a:defRPr sz="1000" dirty="0">
            <a:solidFill>
              <a:srgbClr val="000000"/>
            </a:solidFill>
            <a:latin typeface="Malgun Gothic" panose="020B0503020000020004" pitchFamily="50" charset="-127"/>
            <a:ea typeface="Malgun Gothic" panose="020B0503020000020004" pitchFamily="50" charset="-127"/>
          </a:defRPr>
        </a:defPPr>
      </a:lst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txDef>
  </a:objectDefaults>
  <a:extraClrSchemeLst/>
</a:theme>
</file>

<file path=ppt/theme/theme20.xml><?xml version="1.0" encoding="utf-8"?>
<a:theme xmlns:a="http://schemas.openxmlformats.org/drawingml/2006/main" name="9_디자인 사용자 지정">
  <a:themeElements>
    <a:clrScheme name="사용자 지정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0000"/>
      </a:hlink>
      <a:folHlink>
        <a:srgbClr val="000000"/>
      </a:folHlink>
    </a:clrScheme>
    <a:fontScheme name="LG format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600" b="1" i="0" u="none" strike="noStrike" cap="none" normalizeH="0" baseline="0" smtClean="0">
            <a:ln>
              <a:noFill/>
            </a:ln>
            <a:solidFill>
              <a:srgbClr val="FF3300"/>
            </a:solidFill>
            <a:effectLst/>
            <a:latin typeface="Arial" charset="0"/>
            <a:ea typeface="돋움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600" b="1" i="0" u="none" strike="noStrike" cap="none" normalizeH="0" baseline="0" smtClean="0">
            <a:ln>
              <a:noFill/>
            </a:ln>
            <a:solidFill>
              <a:srgbClr val="FF3300"/>
            </a:solidFill>
            <a:effectLst/>
            <a:latin typeface="Arial" charset="0"/>
            <a:ea typeface="돋움" pitchFamily="50" charset="-127"/>
          </a:defRPr>
        </a:defPPr>
      </a:lstStyle>
    </a:lnDef>
  </a:objectDefaults>
  <a:extraClrSchemeLst>
    <a:extraClrScheme>
      <a:clrScheme name="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0_디자인 사용자 지정">
  <a:themeElements>
    <a:clrScheme name="사용자 지정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0000"/>
      </a:hlink>
      <a:folHlink>
        <a:srgbClr val="000000"/>
      </a:folHlink>
    </a:clrScheme>
    <a:fontScheme name="LG format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600" b="1" i="0" u="none" strike="noStrike" cap="none" normalizeH="0" baseline="0" smtClean="0">
            <a:ln>
              <a:noFill/>
            </a:ln>
            <a:solidFill>
              <a:srgbClr val="FF3300"/>
            </a:solidFill>
            <a:effectLst/>
            <a:latin typeface="Arial" charset="0"/>
            <a:ea typeface="돋움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600" b="1" i="0" u="none" strike="noStrike" cap="none" normalizeH="0" baseline="0" smtClean="0">
            <a:ln>
              <a:noFill/>
            </a:ln>
            <a:solidFill>
              <a:srgbClr val="FF3300"/>
            </a:solidFill>
            <a:effectLst/>
            <a:latin typeface="Arial" charset="0"/>
            <a:ea typeface="돋움" pitchFamily="50" charset="-127"/>
          </a:defRPr>
        </a:defPPr>
      </a:lstStyle>
    </a:lnDef>
  </a:objectDefaults>
  <a:extraClrSchemeLst>
    <a:extraClrScheme>
      <a:clrScheme name="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디자인 사용자 지정">
  <a:themeElements>
    <a:clrScheme name="사용자 지정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0000"/>
      </a:hlink>
      <a:folHlink>
        <a:srgbClr val="000000"/>
      </a:folHlink>
    </a:clrScheme>
    <a:fontScheme name="LG format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600" b="1" i="0" u="none" strike="noStrike" cap="none" normalizeH="0" baseline="0" smtClean="0">
            <a:ln>
              <a:noFill/>
            </a:ln>
            <a:solidFill>
              <a:srgbClr val="FF3300"/>
            </a:solidFill>
            <a:effectLst/>
            <a:latin typeface="Arial" charset="0"/>
            <a:ea typeface="돋움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600" b="1" i="0" u="none" strike="noStrike" cap="none" normalizeH="0" baseline="0" smtClean="0">
            <a:ln>
              <a:noFill/>
            </a:ln>
            <a:solidFill>
              <a:srgbClr val="FF3300"/>
            </a:solidFill>
            <a:effectLst/>
            <a:latin typeface="Arial" charset="0"/>
            <a:ea typeface="돋움" pitchFamily="50" charset="-127"/>
          </a:defRPr>
        </a:defPPr>
      </a:lstStyle>
    </a:lnDef>
  </a:objectDefaults>
  <a:extraClrSchemeLst>
    <a:extraClrScheme>
      <a:clrScheme name="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1_기본 디자인">
  <a:themeElements>
    <a:clrScheme name="7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7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</a:spPr>
      <a:bodyPr wrap="square" rtlCol="0" anchor="ctr">
        <a:spAutoFit/>
      </a:bodyPr>
      <a:lstStyle>
        <a:defPPr algn="ctr" fontAlgn="auto">
          <a:spcBef>
            <a:spcPts val="0"/>
          </a:spcBef>
          <a:spcAft>
            <a:spcPts val="0"/>
          </a:spcAft>
          <a:defRPr sz="800" b="1" dirty="0" smtClean="0">
            <a:solidFill>
              <a:srgbClr val="008000"/>
            </a:solidFill>
            <a:latin typeface="Arial Narrow" panose="020B0606020202030204" pitchFamily="34" charset="0"/>
            <a:ea typeface="LG스마트체 Regular" panose="020B0600000101010101" pitchFamily="50" charset="-127"/>
            <a:cs typeface="Arial" pitchFamily="34" charset="0"/>
          </a:defRPr>
        </a:defPPr>
      </a:lstStyle>
    </a:spDef>
    <a:txDef>
      <a:spPr>
        <a:noFill/>
      </a:spPr>
      <a:bodyPr wrap="none" rtlCol="0">
        <a:spAutoFit/>
      </a:bodyPr>
      <a:lstStyle>
        <a:defPPr>
          <a:defRPr sz="1100" b="0" dirty="0" smtClean="0">
            <a:latin typeface="LG스마트체 Regular" panose="020B0600000101010101" pitchFamily="50" charset="-127"/>
            <a:ea typeface="LG스마트체 Regular" panose="020B0600000101010101" pitchFamily="50" charset="-127"/>
            <a:cs typeface="Arial" pitchFamily="34" charset="0"/>
          </a:defRPr>
        </a:defPPr>
      </a:lstStyle>
    </a:txDef>
  </a:objectDefaults>
  <a:extraClrSchemeLst>
    <a:extraClrScheme>
      <a:clrScheme name="7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사용자 지정 4">
      <a:majorFont>
        <a:latin typeface="Arial Narrow"/>
        <a:ea typeface="LG스마트체 Bold"/>
        <a:cs typeface=""/>
      </a:majorFont>
      <a:minorFont>
        <a:latin typeface="Arial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smtClean="0"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사용자 지정 4">
      <a:majorFont>
        <a:latin typeface="Arial Narrow"/>
        <a:ea typeface="LG스마트체 Bold"/>
        <a:cs typeface=""/>
      </a:majorFont>
      <a:minorFont>
        <a:latin typeface="Arial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smtClean="0"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4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사용자 지정 4">
      <a:majorFont>
        <a:latin typeface="Arial Narrow"/>
        <a:ea typeface="LG스마트체 Bold"/>
        <a:cs typeface=""/>
      </a:majorFont>
      <a:minorFont>
        <a:latin typeface="Arial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smtClean="0"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12_기본 디자인">
  <a:themeElements>
    <a:clrScheme name="7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7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</a:spPr>
      <a:bodyPr wrap="square" rtlCol="0" anchor="ctr">
        <a:spAutoFit/>
      </a:bodyPr>
      <a:lstStyle>
        <a:defPPr algn="ctr" fontAlgn="auto">
          <a:spcBef>
            <a:spcPts val="0"/>
          </a:spcBef>
          <a:spcAft>
            <a:spcPts val="0"/>
          </a:spcAft>
          <a:defRPr sz="800" b="1" dirty="0" smtClean="0">
            <a:solidFill>
              <a:srgbClr val="008000"/>
            </a:solidFill>
            <a:latin typeface="Arial Narrow" panose="020B0606020202030204" pitchFamily="34" charset="0"/>
            <a:ea typeface="LG스마트체 Regular" panose="020B0600000101010101" pitchFamily="50" charset="-127"/>
            <a:cs typeface="Arial" pitchFamily="34" charset="0"/>
          </a:defRPr>
        </a:defPPr>
      </a:lstStyle>
    </a:spDef>
    <a:txDef>
      <a:spPr>
        <a:noFill/>
      </a:spPr>
      <a:bodyPr wrap="none" rtlCol="0">
        <a:spAutoFit/>
      </a:bodyPr>
      <a:lstStyle>
        <a:defPPr>
          <a:defRPr sz="1200" dirty="0" smtClean="0">
            <a:solidFill>
              <a:srgbClr val="C00000"/>
            </a:solidFill>
            <a:latin typeface="Arial" pitchFamily="34" charset="0"/>
            <a:ea typeface="돋움" pitchFamily="50" charset="-127"/>
            <a:cs typeface="Arial" pitchFamily="34" charset="0"/>
          </a:defRPr>
        </a:defPPr>
      </a:lstStyle>
    </a:txDef>
  </a:objectDefaults>
  <a:extraClrSchemeLst>
    <a:extraClrScheme>
      <a:clrScheme name="7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5_디자인 사용자 지정">
  <a:themeElements>
    <a:clrScheme name="사용자 지정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0000"/>
      </a:hlink>
      <a:folHlink>
        <a:srgbClr val="000000"/>
      </a:folHlink>
    </a:clrScheme>
    <a:fontScheme name="LG format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sz="1600" b="1" i="0" u="none" strike="noStrike" cap="none" normalizeH="0" baseline="0" dirty="0" smtClean="0">
            <a:ln>
              <a:noFill/>
            </a:ln>
            <a:solidFill>
              <a:srgbClr val="FF3300"/>
            </a:solidFill>
            <a:effectLst/>
            <a:latin typeface="Arial" charset="0"/>
            <a:ea typeface="돋움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600" b="1" i="0" u="none" strike="noStrike" cap="none" normalizeH="0" baseline="0" smtClean="0">
            <a:ln>
              <a:noFill/>
            </a:ln>
            <a:solidFill>
              <a:srgbClr val="FF3300"/>
            </a:solidFill>
            <a:effectLst/>
            <a:latin typeface="Arial" charset="0"/>
            <a:ea typeface="돋움" pitchFamily="50" charset="-127"/>
          </a:defRPr>
        </a:defPPr>
      </a:lstStyle>
    </a:lnDef>
  </a:objectDefaults>
  <a:extraClrSchemeLst>
    <a:extraClrScheme>
      <a:clrScheme name="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1478</TotalTime>
  <Words>5858</Words>
  <Application>Microsoft Macintosh PowerPoint</Application>
  <PresentationFormat>Widescreen</PresentationFormat>
  <Paragraphs>700</Paragraphs>
  <Slides>4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77" baseType="lpstr">
      <vt:lpstr>굴림</vt:lpstr>
      <vt:lpstr>Malgun Gothic</vt:lpstr>
      <vt:lpstr>Malgun Gothic</vt:lpstr>
      <vt:lpstr>Arial</vt:lpstr>
      <vt:lpstr>Arial Narrow</vt:lpstr>
      <vt:lpstr>Daytona</vt:lpstr>
      <vt:lpstr>LG Smart UI SemiBold</vt:lpstr>
      <vt:lpstr>LG스마트체 Regular</vt:lpstr>
      <vt:lpstr>LG스마트체2.0 SemiBold</vt:lpstr>
      <vt:lpstr>Trebuchet MS</vt:lpstr>
      <vt:lpstr>Wingdings</vt:lpstr>
      <vt:lpstr>함초롬돋움</vt:lpstr>
      <vt:lpstr>11_디자인 사용자 지정</vt:lpstr>
      <vt:lpstr>디자인 사용자 지정</vt:lpstr>
      <vt:lpstr>3_디자인 사용자 지정</vt:lpstr>
      <vt:lpstr>11_기본 디자인</vt:lpstr>
      <vt:lpstr>1_디자인 사용자 지정</vt:lpstr>
      <vt:lpstr>2_디자인 사용자 지정</vt:lpstr>
      <vt:lpstr>4_디자인 사용자 지정</vt:lpstr>
      <vt:lpstr>12_기본 디자인</vt:lpstr>
      <vt:lpstr>5_디자인 사용자 지정</vt:lpstr>
      <vt:lpstr>5_기본 디자인</vt:lpstr>
      <vt:lpstr>3_기본 디자인</vt:lpstr>
      <vt:lpstr>10_Blank</vt:lpstr>
      <vt:lpstr>11_Blank</vt:lpstr>
      <vt:lpstr>12_Blank</vt:lpstr>
      <vt:lpstr>8_디자인 사용자 지정</vt:lpstr>
      <vt:lpstr>Office 테마</vt:lpstr>
      <vt:lpstr>6_디자인 사용자 지정</vt:lpstr>
      <vt:lpstr>양식</vt:lpstr>
      <vt:lpstr>7_디자인 사용자 지정</vt:lpstr>
      <vt:lpstr>9_디자인 사용자 지정</vt:lpstr>
      <vt:lpstr>10_디자인 사용자 지정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</dc:title>
  <dc:creator>김희수/책임연구원/iLab Incubation Cluster(heesoo.kim@lge.com)</dc:creator>
  <cp:lastModifiedBy>Tai Tran Anh</cp:lastModifiedBy>
  <cp:revision>8486</cp:revision>
  <cp:lastPrinted>2023-02-24T10:43:39Z</cp:lastPrinted>
  <dcterms:created xsi:type="dcterms:W3CDTF">2005-12-07T09:50:28Z</dcterms:created>
  <dcterms:modified xsi:type="dcterms:W3CDTF">2023-09-04T03:0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10883658</vt:i4>
  </property>
  <property fmtid="{D5CDD505-2E9C-101B-9397-08002B2CF9AE}" pid="3" name="_NewReviewCycle">
    <vt:lpwstr/>
  </property>
  <property fmtid="{D5CDD505-2E9C-101B-9397-08002B2CF9AE}" pid="4" name="_EmailSubject">
    <vt:lpwstr>과제제안서 공유</vt:lpwstr>
  </property>
  <property fmtid="{D5CDD505-2E9C-101B-9397-08002B2CF9AE}" pid="5" name="_AuthorEmail">
    <vt:lpwstr>jeewoong.yang@lge.com</vt:lpwstr>
  </property>
  <property fmtid="{D5CDD505-2E9C-101B-9397-08002B2CF9AE}" pid="6" name="_AuthorEmailDisplayName">
    <vt:lpwstr>양지웅</vt:lpwstr>
  </property>
</Properties>
</file>